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7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693" r:id="rId6"/>
    <p:sldMasterId id="2147483703" r:id="rId7"/>
    <p:sldMasterId id="2147483715" r:id="rId8"/>
    <p:sldMasterId id="2147483746" r:id="rId9"/>
    <p:sldMasterId id="2147483762" r:id="rId10"/>
    <p:sldMasterId id="2147483796" r:id="rId11"/>
  </p:sldMasterIdLst>
  <p:notesMasterIdLst>
    <p:notesMasterId r:id="rId26"/>
  </p:notesMasterIdLst>
  <p:sldIdLst>
    <p:sldId id="26421" r:id="rId12"/>
    <p:sldId id="2145706204" r:id="rId13"/>
    <p:sldId id="26411" r:id="rId14"/>
    <p:sldId id="747" r:id="rId15"/>
    <p:sldId id="26409" r:id="rId16"/>
    <p:sldId id="2145706189" r:id="rId17"/>
    <p:sldId id="2145706248" r:id="rId18"/>
    <p:sldId id="2145706251" r:id="rId19"/>
    <p:sldId id="2145706222" r:id="rId20"/>
    <p:sldId id="2145706243" r:id="rId21"/>
    <p:sldId id="2145706200" r:id="rId22"/>
    <p:sldId id="2145706240" r:id="rId23"/>
    <p:sldId id="2145706245" r:id="rId24"/>
    <p:sldId id="2145706250" r:id="rId2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af Thomas, INI-DOS-DPS-TCL" initials="GTI" lastIdx="10" clrIdx="0">
    <p:extLst>
      <p:ext uri="{19B8F6BF-5375-455C-9EA6-DF929625EA0E}">
        <p15:presenceInfo xmlns:p15="http://schemas.microsoft.com/office/powerpoint/2012/main" userId="S-1-5-21-796845957-1547161642-839522115-556206" providerId="AD"/>
      </p:ext>
    </p:extLst>
  </p:cmAuthor>
  <p:cmAuthor id="2" name="Author" initials="A" lastIdx="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3198"/>
    <a:srgbClr val="1781E3"/>
    <a:srgbClr val="E61E64"/>
    <a:srgbClr val="11AAFF"/>
    <a:srgbClr val="5944C6"/>
    <a:srgbClr val="A63297"/>
    <a:srgbClr val="0011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25FAC15-EBBD-4C91-A28C-AA195C9A8788}" v="20" dt="2023-07-24T13:49:59.4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78" autoAdjust="0"/>
    <p:restoredTop sz="93961" autoAdjust="0"/>
  </p:normalViewPr>
  <p:slideViewPr>
    <p:cSldViewPr snapToGrid="0">
      <p:cViewPr varScale="1">
        <p:scale>
          <a:sx n="72" d="100"/>
          <a:sy n="72" d="100"/>
        </p:scale>
        <p:origin x="60" y="9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raf Thomas, INI-NET-VNC-HCS" userId="487bc3e3-9ce7-4cdd-b7b4-8899ea88d289" providerId="ADAL" clId="{625FAC15-EBBD-4C91-A28C-AA195C9A8788}"/>
    <pc:docChg chg="undo custSel addSld delSld modSld sldOrd">
      <pc:chgData name="Graf Thomas, INI-NET-VNC-HCS" userId="487bc3e3-9ce7-4cdd-b7b4-8899ea88d289" providerId="ADAL" clId="{625FAC15-EBBD-4C91-A28C-AA195C9A8788}" dt="2023-07-24T17:49:54.443" v="2810" actId="20577"/>
      <pc:docMkLst>
        <pc:docMk/>
      </pc:docMkLst>
      <pc:sldChg chg="del ord">
        <pc:chgData name="Graf Thomas, INI-NET-VNC-HCS" userId="487bc3e3-9ce7-4cdd-b7b4-8899ea88d289" providerId="ADAL" clId="{625FAC15-EBBD-4C91-A28C-AA195C9A8788}" dt="2023-07-23T22:11:39.534" v="1672" actId="47"/>
        <pc:sldMkLst>
          <pc:docMk/>
          <pc:sldMk cId="3059374615" sldId="396"/>
        </pc:sldMkLst>
      </pc:sldChg>
      <pc:sldChg chg="add del ord">
        <pc:chgData name="Graf Thomas, INI-NET-VNC-HCS" userId="487bc3e3-9ce7-4cdd-b7b4-8899ea88d289" providerId="ADAL" clId="{625FAC15-EBBD-4C91-A28C-AA195C9A8788}" dt="2023-07-23T21:57:30.151" v="1460"/>
        <pc:sldMkLst>
          <pc:docMk/>
          <pc:sldMk cId="3742743098" sldId="747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3280121901" sldId="877"/>
        </pc:sldMkLst>
      </pc:sldChg>
      <pc:sldChg chg="modSp add del mod">
        <pc:chgData name="Graf Thomas, INI-NET-VNC-HCS" userId="487bc3e3-9ce7-4cdd-b7b4-8899ea88d289" providerId="ADAL" clId="{625FAC15-EBBD-4C91-A28C-AA195C9A8788}" dt="2023-07-23T18:59:26.707" v="87" actId="47"/>
        <pc:sldMkLst>
          <pc:docMk/>
          <pc:sldMk cId="692774623" sldId="952"/>
        </pc:sldMkLst>
        <pc:spChg chg="mod">
          <ac:chgData name="Graf Thomas, INI-NET-VNC-HCS" userId="487bc3e3-9ce7-4cdd-b7b4-8899ea88d289" providerId="ADAL" clId="{625FAC15-EBBD-4C91-A28C-AA195C9A8788}" dt="2023-07-23T18:58:42.242" v="80" actId="20577"/>
          <ac:spMkLst>
            <pc:docMk/>
            <pc:sldMk cId="692774623" sldId="952"/>
            <ac:spMk id="25" creationId="{6DC81F34-7EA9-C84D-D7BC-2F5514AC4CE4}"/>
          </ac:spMkLst>
        </pc:spChg>
      </pc:sldChg>
      <pc:sldChg chg="del ord">
        <pc:chgData name="Graf Thomas, INI-NET-VNC-HCS" userId="487bc3e3-9ce7-4cdd-b7b4-8899ea88d289" providerId="ADAL" clId="{625FAC15-EBBD-4C91-A28C-AA195C9A8788}" dt="2023-07-23T22:11:39.534" v="1672" actId="47"/>
        <pc:sldMkLst>
          <pc:docMk/>
          <pc:sldMk cId="1656045068" sldId="954"/>
        </pc:sldMkLst>
      </pc:sldChg>
      <pc:sldChg chg="add del">
        <pc:chgData name="Graf Thomas, INI-NET-VNC-HCS" userId="487bc3e3-9ce7-4cdd-b7b4-8899ea88d289" providerId="ADAL" clId="{625FAC15-EBBD-4C91-A28C-AA195C9A8788}" dt="2023-07-23T16:32:20.374" v="8" actId="47"/>
        <pc:sldMkLst>
          <pc:docMk/>
          <pc:sldMk cId="860780404" sldId="1280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578294043" sldId="2707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1133176728" sldId="6739"/>
        </pc:sldMkLst>
      </pc:sldChg>
      <pc:sldChg chg="del">
        <pc:chgData name="Graf Thomas, INI-NET-VNC-HCS" userId="487bc3e3-9ce7-4cdd-b7b4-8899ea88d289" providerId="ADAL" clId="{625FAC15-EBBD-4C91-A28C-AA195C9A8788}" dt="2023-07-23T16:32:20.374" v="8" actId="47"/>
        <pc:sldMkLst>
          <pc:docMk/>
          <pc:sldMk cId="2134394597" sldId="6744"/>
        </pc:sldMkLst>
      </pc:sldChg>
      <pc:sldChg chg="del">
        <pc:chgData name="Graf Thomas, INI-NET-VNC-HCS" userId="487bc3e3-9ce7-4cdd-b7b4-8899ea88d289" providerId="ADAL" clId="{625FAC15-EBBD-4C91-A28C-AA195C9A8788}" dt="2023-07-23T16:26:22.041" v="2" actId="47"/>
        <pc:sldMkLst>
          <pc:docMk/>
          <pc:sldMk cId="3448465945" sldId="26365"/>
        </pc:sldMkLst>
      </pc:sldChg>
      <pc:sldChg chg="modSp add del mod">
        <pc:chgData name="Graf Thomas, INI-NET-VNC-HCS" userId="487bc3e3-9ce7-4cdd-b7b4-8899ea88d289" providerId="ADAL" clId="{625FAC15-EBBD-4C91-A28C-AA195C9A8788}" dt="2023-07-23T22:06:21.791" v="1671" actId="20577"/>
        <pc:sldMkLst>
          <pc:docMk/>
          <pc:sldMk cId="1658204669" sldId="26409"/>
        </pc:sldMkLst>
        <pc:spChg chg="mod">
          <ac:chgData name="Graf Thomas, INI-NET-VNC-HCS" userId="487bc3e3-9ce7-4cdd-b7b4-8899ea88d289" providerId="ADAL" clId="{625FAC15-EBBD-4C91-A28C-AA195C9A8788}" dt="2023-07-23T22:06:21.791" v="1671" actId="20577"/>
          <ac:spMkLst>
            <pc:docMk/>
            <pc:sldMk cId="1658204669" sldId="26409"/>
            <ac:spMk id="10" creationId="{FFEBC078-840D-496B-951C-4D85E87523F4}"/>
          </ac:spMkLst>
        </pc:spChg>
      </pc:sldChg>
      <pc:sldChg chg="del">
        <pc:chgData name="Graf Thomas, INI-NET-VNC-HCS" userId="487bc3e3-9ce7-4cdd-b7b4-8899ea88d289" providerId="ADAL" clId="{625FAC15-EBBD-4C91-A28C-AA195C9A8788}" dt="2023-07-23T16:26:22.041" v="2" actId="47"/>
        <pc:sldMkLst>
          <pc:docMk/>
          <pc:sldMk cId="756091190" sldId="26417"/>
        </pc:sldMkLst>
      </pc:sldChg>
      <pc:sldChg chg="modSp mod">
        <pc:chgData name="Graf Thomas, INI-NET-VNC-HCS" userId="487bc3e3-9ce7-4cdd-b7b4-8899ea88d289" providerId="ADAL" clId="{625FAC15-EBBD-4C91-A28C-AA195C9A8788}" dt="2023-07-23T21:59:19.183" v="1531" actId="20577"/>
        <pc:sldMkLst>
          <pc:docMk/>
          <pc:sldMk cId="83413648" sldId="26421"/>
        </pc:sldMkLst>
        <pc:spChg chg="mod">
          <ac:chgData name="Graf Thomas, INI-NET-VNC-HCS" userId="487bc3e3-9ce7-4cdd-b7b4-8899ea88d289" providerId="ADAL" clId="{625FAC15-EBBD-4C91-A28C-AA195C9A8788}" dt="2023-07-23T21:59:19.183" v="1531" actId="20577"/>
          <ac:spMkLst>
            <pc:docMk/>
            <pc:sldMk cId="83413648" sldId="26421"/>
            <ac:spMk id="2" creationId="{00000000-0000-0000-0000-000000000000}"/>
          </ac:spMkLst>
        </pc:spChg>
        <pc:spChg chg="mod">
          <ac:chgData name="Graf Thomas, INI-NET-VNC-HCS" userId="487bc3e3-9ce7-4cdd-b7b4-8899ea88d289" providerId="ADAL" clId="{625FAC15-EBBD-4C91-A28C-AA195C9A8788}" dt="2023-07-23T16:33:19.315" v="44" actId="20577"/>
          <ac:spMkLst>
            <pc:docMk/>
            <pc:sldMk cId="83413648" sldId="26421"/>
            <ac:spMk id="5" creationId="{322ED2BF-7B71-4061-81BF-3C0686B7D4D5}"/>
          </ac:spMkLst>
        </pc:spChg>
      </pc:sldChg>
      <pc:sldChg chg="add del">
        <pc:chgData name="Graf Thomas, INI-NET-VNC-HCS" userId="487bc3e3-9ce7-4cdd-b7b4-8899ea88d289" providerId="ADAL" clId="{625FAC15-EBBD-4C91-A28C-AA195C9A8788}" dt="2023-07-23T16:32:20.374" v="8" actId="47"/>
        <pc:sldMkLst>
          <pc:docMk/>
          <pc:sldMk cId="1149755721" sldId="26424"/>
        </pc:sldMkLst>
      </pc:sldChg>
      <pc:sldChg chg="modSp add mod">
        <pc:chgData name="Graf Thomas, INI-NET-VNC-HCS" userId="487bc3e3-9ce7-4cdd-b7b4-8899ea88d289" providerId="ADAL" clId="{625FAC15-EBBD-4C91-A28C-AA195C9A8788}" dt="2023-07-24T17:41:27.044" v="2806" actId="20577"/>
        <pc:sldMkLst>
          <pc:docMk/>
          <pc:sldMk cId="815349397" sldId="2145706189"/>
        </pc:sldMkLst>
        <pc:spChg chg="mod">
          <ac:chgData name="Graf Thomas, INI-NET-VNC-HCS" userId="487bc3e3-9ce7-4cdd-b7b4-8899ea88d289" providerId="ADAL" clId="{625FAC15-EBBD-4C91-A28C-AA195C9A8788}" dt="2023-07-24T17:41:27.044" v="2806" actId="20577"/>
          <ac:spMkLst>
            <pc:docMk/>
            <pc:sldMk cId="815349397" sldId="2145706189"/>
            <ac:spMk id="10" creationId="{FFEBC078-840D-496B-951C-4D85E87523F4}"/>
          </ac:spMkLst>
        </pc:spChg>
        <pc:spChg chg="mod">
          <ac:chgData name="Graf Thomas, INI-NET-VNC-HCS" userId="487bc3e3-9ce7-4cdd-b7b4-8899ea88d289" providerId="ADAL" clId="{625FAC15-EBBD-4C91-A28C-AA195C9A8788}" dt="2023-07-23T19:28:44.838" v="968"/>
          <ac:spMkLst>
            <pc:docMk/>
            <pc:sldMk cId="815349397" sldId="2145706189"/>
            <ac:spMk id="14" creationId="{A4229C52-005A-4F3A-826D-8B06B8B911BD}"/>
          </ac:spMkLst>
        </pc:spChg>
      </pc:sldChg>
      <pc:sldChg chg="del">
        <pc:chgData name="Graf Thomas, INI-NET-VNC-HCS" userId="487bc3e3-9ce7-4cdd-b7b4-8899ea88d289" providerId="ADAL" clId="{625FAC15-EBBD-4C91-A28C-AA195C9A8788}" dt="2023-07-23T16:26:22.041" v="2" actId="47"/>
        <pc:sldMkLst>
          <pc:docMk/>
          <pc:sldMk cId="352083460" sldId="2145706196"/>
        </pc:sldMkLst>
      </pc:sldChg>
      <pc:sldChg chg="add ord">
        <pc:chgData name="Graf Thomas, INI-NET-VNC-HCS" userId="487bc3e3-9ce7-4cdd-b7b4-8899ea88d289" providerId="ADAL" clId="{625FAC15-EBBD-4C91-A28C-AA195C9A8788}" dt="2023-07-23T21:58:37.073" v="1476"/>
        <pc:sldMkLst>
          <pc:docMk/>
          <pc:sldMk cId="3241116723" sldId="2145706200"/>
        </pc:sldMkLst>
      </pc:sldChg>
      <pc:sldChg chg="del">
        <pc:chgData name="Graf Thomas, INI-NET-VNC-HCS" userId="487bc3e3-9ce7-4cdd-b7b4-8899ea88d289" providerId="ADAL" clId="{625FAC15-EBBD-4C91-A28C-AA195C9A8788}" dt="2023-07-23T16:32:20.374" v="8" actId="47"/>
        <pc:sldMkLst>
          <pc:docMk/>
          <pc:sldMk cId="701673731" sldId="2145706201"/>
        </pc:sldMkLst>
      </pc:sldChg>
      <pc:sldChg chg="del">
        <pc:chgData name="Graf Thomas, INI-NET-VNC-HCS" userId="487bc3e3-9ce7-4cdd-b7b4-8899ea88d289" providerId="ADAL" clId="{625FAC15-EBBD-4C91-A28C-AA195C9A8788}" dt="2023-07-23T16:30:59.894" v="6" actId="47"/>
        <pc:sldMkLst>
          <pc:docMk/>
          <pc:sldMk cId="2867673274" sldId="2145706206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345214459" sldId="2145706207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3692603831" sldId="2145706208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3185080256" sldId="2145706209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2611545063" sldId="2145706210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1929664055" sldId="2145706212"/>
        </pc:sldMkLst>
      </pc:sldChg>
      <pc:sldChg chg="del">
        <pc:chgData name="Graf Thomas, INI-NET-VNC-HCS" userId="487bc3e3-9ce7-4cdd-b7b4-8899ea88d289" providerId="ADAL" clId="{625FAC15-EBBD-4C91-A28C-AA195C9A8788}" dt="2023-07-23T16:32:20.374" v="8" actId="47"/>
        <pc:sldMkLst>
          <pc:docMk/>
          <pc:sldMk cId="871015791" sldId="2145706214"/>
        </pc:sldMkLst>
      </pc:sldChg>
      <pc:sldChg chg="del">
        <pc:chgData name="Graf Thomas, INI-NET-VNC-HCS" userId="487bc3e3-9ce7-4cdd-b7b4-8899ea88d289" providerId="ADAL" clId="{625FAC15-EBBD-4C91-A28C-AA195C9A8788}" dt="2023-07-23T16:32:20.374" v="8" actId="47"/>
        <pc:sldMkLst>
          <pc:docMk/>
          <pc:sldMk cId="2771862595" sldId="2145706219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2105640288" sldId="2145706220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670772560" sldId="2145706221"/>
        </pc:sldMkLst>
      </pc:sldChg>
      <pc:sldChg chg="ord">
        <pc:chgData name="Graf Thomas, INI-NET-VNC-HCS" userId="487bc3e3-9ce7-4cdd-b7b4-8899ea88d289" providerId="ADAL" clId="{625FAC15-EBBD-4C91-A28C-AA195C9A8788}" dt="2023-07-24T13:34:36.593" v="2629"/>
        <pc:sldMkLst>
          <pc:docMk/>
          <pc:sldMk cId="3453066419" sldId="2145706222"/>
        </pc:sldMkLst>
      </pc:sldChg>
      <pc:sldChg chg="del">
        <pc:chgData name="Graf Thomas, INI-NET-VNC-HCS" userId="487bc3e3-9ce7-4cdd-b7b4-8899ea88d289" providerId="ADAL" clId="{625FAC15-EBBD-4C91-A28C-AA195C9A8788}" dt="2023-07-23T16:22:26.670" v="0" actId="47"/>
        <pc:sldMkLst>
          <pc:docMk/>
          <pc:sldMk cId="1015036593" sldId="2145706223"/>
        </pc:sldMkLst>
      </pc:sldChg>
      <pc:sldChg chg="modSp add mod ord">
        <pc:chgData name="Graf Thomas, INI-NET-VNC-HCS" userId="487bc3e3-9ce7-4cdd-b7b4-8899ea88d289" providerId="ADAL" clId="{625FAC15-EBBD-4C91-A28C-AA195C9A8788}" dt="2023-07-24T13:36:50.049" v="2759" actId="20577"/>
        <pc:sldMkLst>
          <pc:docMk/>
          <pc:sldMk cId="2058983617" sldId="2145706240"/>
        </pc:sldMkLst>
        <pc:spChg chg="mod">
          <ac:chgData name="Graf Thomas, INI-NET-VNC-HCS" userId="487bc3e3-9ce7-4cdd-b7b4-8899ea88d289" providerId="ADAL" clId="{625FAC15-EBBD-4C91-A28C-AA195C9A8788}" dt="2023-07-23T21:59:51.910" v="1573" actId="20577"/>
          <ac:spMkLst>
            <pc:docMk/>
            <pc:sldMk cId="2058983617" sldId="2145706240"/>
            <ac:spMk id="5" creationId="{AE0C8B0E-A4DE-0F83-CE09-A20D71FC3655}"/>
          </ac:spMkLst>
        </pc:spChg>
        <pc:spChg chg="mod">
          <ac:chgData name="Graf Thomas, INI-NET-VNC-HCS" userId="487bc3e3-9ce7-4cdd-b7b4-8899ea88d289" providerId="ADAL" clId="{625FAC15-EBBD-4C91-A28C-AA195C9A8788}" dt="2023-07-24T13:36:50.049" v="2759" actId="20577"/>
          <ac:spMkLst>
            <pc:docMk/>
            <pc:sldMk cId="2058983617" sldId="2145706240"/>
            <ac:spMk id="25" creationId="{6DC81F34-7EA9-C84D-D7BC-2F5514AC4CE4}"/>
          </ac:spMkLst>
        </pc:spChg>
      </pc:sldChg>
      <pc:sldChg chg="add ord">
        <pc:chgData name="Graf Thomas, INI-NET-VNC-HCS" userId="487bc3e3-9ce7-4cdd-b7b4-8899ea88d289" providerId="ADAL" clId="{625FAC15-EBBD-4C91-A28C-AA195C9A8788}" dt="2023-07-23T21:57:43.988" v="1464"/>
        <pc:sldMkLst>
          <pc:docMk/>
          <pc:sldMk cId="4209814961" sldId="2145706243"/>
        </pc:sldMkLst>
      </pc:sldChg>
      <pc:sldChg chg="add del ord">
        <pc:chgData name="Graf Thomas, INI-NET-VNC-HCS" userId="487bc3e3-9ce7-4cdd-b7b4-8899ea88d289" providerId="ADAL" clId="{625FAC15-EBBD-4C91-A28C-AA195C9A8788}" dt="2023-07-23T22:11:39.534" v="1672" actId="47"/>
        <pc:sldMkLst>
          <pc:docMk/>
          <pc:sldMk cId="2676898737" sldId="2145706244"/>
        </pc:sldMkLst>
      </pc:sldChg>
      <pc:sldChg chg="modSp add mod ord">
        <pc:chgData name="Graf Thomas, INI-NET-VNC-HCS" userId="487bc3e3-9ce7-4cdd-b7b4-8899ea88d289" providerId="ADAL" clId="{625FAC15-EBBD-4C91-A28C-AA195C9A8788}" dt="2023-07-24T13:35:30.407" v="2660" actId="14100"/>
        <pc:sldMkLst>
          <pc:docMk/>
          <pc:sldMk cId="1182712198" sldId="2145706245"/>
        </pc:sldMkLst>
        <pc:spChg chg="mod">
          <ac:chgData name="Graf Thomas, INI-NET-VNC-HCS" userId="487bc3e3-9ce7-4cdd-b7b4-8899ea88d289" providerId="ADAL" clId="{625FAC15-EBBD-4C91-A28C-AA195C9A8788}" dt="2023-07-24T13:35:30.407" v="2660" actId="14100"/>
          <ac:spMkLst>
            <pc:docMk/>
            <pc:sldMk cId="1182712198" sldId="2145706245"/>
            <ac:spMk id="8" creationId="{FBE5644D-AF4A-4732-B3D8-A1D12FF5A0D4}"/>
          </ac:spMkLst>
        </pc:spChg>
      </pc:sldChg>
      <pc:sldChg chg="add del">
        <pc:chgData name="Graf Thomas, INI-NET-VNC-HCS" userId="487bc3e3-9ce7-4cdd-b7b4-8899ea88d289" providerId="ADAL" clId="{625FAC15-EBBD-4C91-A28C-AA195C9A8788}" dt="2023-07-23T16:31:53.152" v="7" actId="47"/>
        <pc:sldMkLst>
          <pc:docMk/>
          <pc:sldMk cId="2589219022" sldId="2145706246"/>
        </pc:sldMkLst>
      </pc:sldChg>
      <pc:sldChg chg="add del">
        <pc:chgData name="Graf Thomas, INI-NET-VNC-HCS" userId="487bc3e3-9ce7-4cdd-b7b4-8899ea88d289" providerId="ADAL" clId="{625FAC15-EBBD-4C91-A28C-AA195C9A8788}" dt="2023-07-23T22:11:39.534" v="1672" actId="47"/>
        <pc:sldMkLst>
          <pc:docMk/>
          <pc:sldMk cId="1044265979" sldId="2145706247"/>
        </pc:sldMkLst>
      </pc:sldChg>
      <pc:sldChg chg="modSp add del mod">
        <pc:chgData name="Graf Thomas, INI-NET-VNC-HCS" userId="487bc3e3-9ce7-4cdd-b7b4-8899ea88d289" providerId="ADAL" clId="{625FAC15-EBBD-4C91-A28C-AA195C9A8788}" dt="2023-07-23T19:28:48.967" v="969" actId="47"/>
        <pc:sldMkLst>
          <pc:docMk/>
          <pc:sldMk cId="216223607" sldId="2145706248"/>
        </pc:sldMkLst>
        <pc:spChg chg="mod">
          <ac:chgData name="Graf Thomas, INI-NET-VNC-HCS" userId="487bc3e3-9ce7-4cdd-b7b4-8899ea88d289" providerId="ADAL" clId="{625FAC15-EBBD-4C91-A28C-AA195C9A8788}" dt="2023-07-23T19:26:48.695" v="853" actId="20577"/>
          <ac:spMkLst>
            <pc:docMk/>
            <pc:sldMk cId="216223607" sldId="2145706248"/>
            <ac:spMk id="10" creationId="{FFEBC078-840D-496B-951C-4D85E87523F4}"/>
          </ac:spMkLst>
        </pc:spChg>
        <pc:spChg chg="mod">
          <ac:chgData name="Graf Thomas, INI-NET-VNC-HCS" userId="487bc3e3-9ce7-4cdd-b7b4-8899ea88d289" providerId="ADAL" clId="{625FAC15-EBBD-4C91-A28C-AA195C9A8788}" dt="2023-07-23T19:21:52.912" v="516" actId="20577"/>
          <ac:spMkLst>
            <pc:docMk/>
            <pc:sldMk cId="216223607" sldId="2145706248"/>
            <ac:spMk id="14" creationId="{A4229C52-005A-4F3A-826D-8B06B8B911BD}"/>
          </ac:spMkLst>
        </pc:spChg>
      </pc:sldChg>
      <pc:sldChg chg="new del">
        <pc:chgData name="Graf Thomas, INI-NET-VNC-HCS" userId="487bc3e3-9ce7-4cdd-b7b4-8899ea88d289" providerId="ADAL" clId="{625FAC15-EBBD-4C91-A28C-AA195C9A8788}" dt="2023-07-23T19:19:08.661" v="93" actId="47"/>
        <pc:sldMkLst>
          <pc:docMk/>
          <pc:sldMk cId="390797805" sldId="2145706248"/>
        </pc:sldMkLst>
      </pc:sldChg>
      <pc:sldChg chg="addSp delSp modSp add mod ord">
        <pc:chgData name="Graf Thomas, INI-NET-VNC-HCS" userId="487bc3e3-9ce7-4cdd-b7b4-8899ea88d289" providerId="ADAL" clId="{625FAC15-EBBD-4C91-A28C-AA195C9A8788}" dt="2023-07-24T17:41:50.838" v="2808" actId="20577"/>
        <pc:sldMkLst>
          <pc:docMk/>
          <pc:sldMk cId="4089325581" sldId="2145706248"/>
        </pc:sldMkLst>
        <pc:spChg chg="mod">
          <ac:chgData name="Graf Thomas, INI-NET-VNC-HCS" userId="487bc3e3-9ce7-4cdd-b7b4-8899ea88d289" providerId="ADAL" clId="{625FAC15-EBBD-4C91-A28C-AA195C9A8788}" dt="2023-07-24T17:41:50.838" v="2808" actId="20577"/>
          <ac:spMkLst>
            <pc:docMk/>
            <pc:sldMk cId="4089325581" sldId="2145706248"/>
            <ac:spMk id="10" creationId="{FFEBC078-840D-496B-951C-4D85E87523F4}"/>
          </ac:spMkLst>
        </pc:spChg>
        <pc:spChg chg="del">
          <ac:chgData name="Graf Thomas, INI-NET-VNC-HCS" userId="487bc3e3-9ce7-4cdd-b7b4-8899ea88d289" providerId="ADAL" clId="{625FAC15-EBBD-4C91-A28C-AA195C9A8788}" dt="2023-07-23T22:13:07.492" v="1741" actId="478"/>
          <ac:spMkLst>
            <pc:docMk/>
            <pc:sldMk cId="4089325581" sldId="2145706248"/>
            <ac:spMk id="14" creationId="{A4229C52-005A-4F3A-826D-8B06B8B911BD}"/>
          </ac:spMkLst>
        </pc:spChg>
        <pc:picChg chg="add del mod">
          <ac:chgData name="Graf Thomas, INI-NET-VNC-HCS" userId="487bc3e3-9ce7-4cdd-b7b4-8899ea88d289" providerId="ADAL" clId="{625FAC15-EBBD-4C91-A28C-AA195C9A8788}" dt="2023-07-24T13:39:10.039" v="2766" actId="478"/>
          <ac:picMkLst>
            <pc:docMk/>
            <pc:sldMk cId="4089325581" sldId="2145706248"/>
            <ac:picMk id="2" creationId="{3CF37A8F-3420-3867-C802-183984960772}"/>
          </ac:picMkLst>
        </pc:picChg>
        <pc:picChg chg="add del mod">
          <ac:chgData name="Graf Thomas, INI-NET-VNC-HCS" userId="487bc3e3-9ce7-4cdd-b7b4-8899ea88d289" providerId="ADAL" clId="{625FAC15-EBBD-4C91-A28C-AA195C9A8788}" dt="2023-07-24T13:40:37.093" v="2772" actId="478"/>
          <ac:picMkLst>
            <pc:docMk/>
            <pc:sldMk cId="4089325581" sldId="2145706248"/>
            <ac:picMk id="3" creationId="{DD6F14BB-2CAD-ED1D-42A2-C16C1AB74E3E}"/>
          </ac:picMkLst>
        </pc:picChg>
        <pc:picChg chg="add del mod">
          <ac:chgData name="Graf Thomas, INI-NET-VNC-HCS" userId="487bc3e3-9ce7-4cdd-b7b4-8899ea88d289" providerId="ADAL" clId="{625FAC15-EBBD-4C91-A28C-AA195C9A8788}" dt="2023-07-24T13:40:42.123" v="2775" actId="478"/>
          <ac:picMkLst>
            <pc:docMk/>
            <pc:sldMk cId="4089325581" sldId="2145706248"/>
            <ac:picMk id="6" creationId="{73D95CAC-7089-B9D2-1507-C9447E91C866}"/>
          </ac:picMkLst>
        </pc:picChg>
        <pc:picChg chg="add mod modCrop">
          <ac:chgData name="Graf Thomas, INI-NET-VNC-HCS" userId="487bc3e3-9ce7-4cdd-b7b4-8899ea88d289" providerId="ADAL" clId="{625FAC15-EBBD-4C91-A28C-AA195C9A8788}" dt="2023-07-24T13:41:32" v="2780" actId="732"/>
          <ac:picMkLst>
            <pc:docMk/>
            <pc:sldMk cId="4089325581" sldId="2145706248"/>
            <ac:picMk id="7" creationId="{AF6B45BE-4D0E-B9AA-FD05-3B46ADC3FED5}"/>
          </ac:picMkLst>
        </pc:picChg>
        <pc:picChg chg="del">
          <ac:chgData name="Graf Thomas, INI-NET-VNC-HCS" userId="487bc3e3-9ce7-4cdd-b7b4-8899ea88d289" providerId="ADAL" clId="{625FAC15-EBBD-4C91-A28C-AA195C9A8788}" dt="2023-07-24T13:38:25.390" v="2760" actId="478"/>
          <ac:picMkLst>
            <pc:docMk/>
            <pc:sldMk cId="4089325581" sldId="2145706248"/>
            <ac:picMk id="8" creationId="{68405047-376C-4457-A3CF-843CB4E933DE}"/>
          </ac:picMkLst>
        </pc:picChg>
      </pc:sldChg>
      <pc:sldChg chg="delSp modSp add del mod">
        <pc:chgData name="Graf Thomas, INI-NET-VNC-HCS" userId="487bc3e3-9ce7-4cdd-b7b4-8899ea88d289" providerId="ADAL" clId="{625FAC15-EBBD-4C91-A28C-AA195C9A8788}" dt="2023-07-23T22:14:48.420" v="1757" actId="47"/>
        <pc:sldMkLst>
          <pc:docMk/>
          <pc:sldMk cId="3537813966" sldId="2145706249"/>
        </pc:sldMkLst>
        <pc:spChg chg="mod">
          <ac:chgData name="Graf Thomas, INI-NET-VNC-HCS" userId="487bc3e3-9ce7-4cdd-b7b4-8899ea88d289" providerId="ADAL" clId="{625FAC15-EBBD-4C91-A28C-AA195C9A8788}" dt="2023-07-23T22:12:07.819" v="1683" actId="20577"/>
          <ac:spMkLst>
            <pc:docMk/>
            <pc:sldMk cId="3537813966" sldId="2145706249"/>
            <ac:spMk id="10" creationId="{FFEBC078-840D-496B-951C-4D85E87523F4}"/>
          </ac:spMkLst>
        </pc:spChg>
        <pc:spChg chg="del">
          <ac:chgData name="Graf Thomas, INI-NET-VNC-HCS" userId="487bc3e3-9ce7-4cdd-b7b4-8899ea88d289" providerId="ADAL" clId="{625FAC15-EBBD-4C91-A28C-AA195C9A8788}" dt="2023-07-23T22:13:20.421" v="1742" actId="478"/>
          <ac:spMkLst>
            <pc:docMk/>
            <pc:sldMk cId="3537813966" sldId="2145706249"/>
            <ac:spMk id="14" creationId="{A4229C52-005A-4F3A-826D-8B06B8B911BD}"/>
          </ac:spMkLst>
        </pc:spChg>
      </pc:sldChg>
      <pc:sldChg chg="addSp delSp modSp add mod ord">
        <pc:chgData name="Graf Thomas, INI-NET-VNC-HCS" userId="487bc3e3-9ce7-4cdd-b7b4-8899ea88d289" providerId="ADAL" clId="{625FAC15-EBBD-4C91-A28C-AA195C9A8788}" dt="2023-07-24T13:31:34.863" v="2606" actId="20577"/>
        <pc:sldMkLst>
          <pc:docMk/>
          <pc:sldMk cId="1841948455" sldId="2145706250"/>
        </pc:sldMkLst>
        <pc:spChg chg="mod">
          <ac:chgData name="Graf Thomas, INI-NET-VNC-HCS" userId="487bc3e3-9ce7-4cdd-b7b4-8899ea88d289" providerId="ADAL" clId="{625FAC15-EBBD-4C91-A28C-AA195C9A8788}" dt="2023-07-24T13:31:34.863" v="2606" actId="20577"/>
          <ac:spMkLst>
            <pc:docMk/>
            <pc:sldMk cId="1841948455" sldId="2145706250"/>
            <ac:spMk id="10" creationId="{FFEBC078-840D-496B-951C-4D85E87523F4}"/>
          </ac:spMkLst>
        </pc:spChg>
        <pc:spChg chg="del">
          <ac:chgData name="Graf Thomas, INI-NET-VNC-HCS" userId="487bc3e3-9ce7-4cdd-b7b4-8899ea88d289" providerId="ADAL" clId="{625FAC15-EBBD-4C91-A28C-AA195C9A8788}" dt="2023-07-23T22:13:25.354" v="1743" actId="478"/>
          <ac:spMkLst>
            <pc:docMk/>
            <pc:sldMk cId="1841948455" sldId="2145706250"/>
            <ac:spMk id="14" creationId="{A4229C52-005A-4F3A-826D-8B06B8B911BD}"/>
          </ac:spMkLst>
        </pc:spChg>
        <pc:picChg chg="add del mod">
          <ac:chgData name="Graf Thomas, INI-NET-VNC-HCS" userId="487bc3e3-9ce7-4cdd-b7b4-8899ea88d289" providerId="ADAL" clId="{625FAC15-EBBD-4C91-A28C-AA195C9A8788}" dt="2023-07-23T22:21:47.879" v="2180"/>
          <ac:picMkLst>
            <pc:docMk/>
            <pc:sldMk cId="1841948455" sldId="2145706250"/>
            <ac:picMk id="2" creationId="{0B2BDE7C-68C2-F199-3F80-DA1994C83283}"/>
          </ac:picMkLst>
        </pc:picChg>
        <pc:picChg chg="add mod">
          <ac:chgData name="Graf Thomas, INI-NET-VNC-HCS" userId="487bc3e3-9ce7-4cdd-b7b4-8899ea88d289" providerId="ADAL" clId="{625FAC15-EBBD-4C91-A28C-AA195C9A8788}" dt="2023-07-23T22:22:01.224" v="2186" actId="1076"/>
          <ac:picMkLst>
            <pc:docMk/>
            <pc:sldMk cId="1841948455" sldId="2145706250"/>
            <ac:picMk id="3" creationId="{FFB8AA38-4F95-A2ED-9A95-FC9AA40F6A19}"/>
          </ac:picMkLst>
        </pc:picChg>
        <pc:picChg chg="add del">
          <ac:chgData name="Graf Thomas, INI-NET-VNC-HCS" userId="487bc3e3-9ce7-4cdd-b7b4-8899ea88d289" providerId="ADAL" clId="{625FAC15-EBBD-4C91-A28C-AA195C9A8788}" dt="2023-07-23T22:21:56.505" v="2185" actId="478"/>
          <ac:picMkLst>
            <pc:docMk/>
            <pc:sldMk cId="1841948455" sldId="2145706250"/>
            <ac:picMk id="8" creationId="{68405047-376C-4457-A3CF-843CB4E933DE}"/>
          </ac:picMkLst>
        </pc:picChg>
      </pc:sldChg>
      <pc:sldChg chg="addSp delSp modSp add mod ord">
        <pc:chgData name="Graf Thomas, INI-NET-VNC-HCS" userId="487bc3e3-9ce7-4cdd-b7b4-8899ea88d289" providerId="ADAL" clId="{625FAC15-EBBD-4C91-A28C-AA195C9A8788}" dt="2023-07-24T17:49:54.443" v="2810" actId="20577"/>
        <pc:sldMkLst>
          <pc:docMk/>
          <pc:sldMk cId="128717953" sldId="2145706251"/>
        </pc:sldMkLst>
        <pc:spChg chg="mod">
          <ac:chgData name="Graf Thomas, INI-NET-VNC-HCS" userId="487bc3e3-9ce7-4cdd-b7b4-8899ea88d289" providerId="ADAL" clId="{625FAC15-EBBD-4C91-A28C-AA195C9A8788}" dt="2023-07-24T17:49:54.443" v="2810" actId="20577"/>
          <ac:spMkLst>
            <pc:docMk/>
            <pc:sldMk cId="128717953" sldId="2145706251"/>
            <ac:spMk id="10" creationId="{FFEBC078-840D-496B-951C-4D85E87523F4}"/>
          </ac:spMkLst>
        </pc:spChg>
        <pc:spChg chg="del">
          <ac:chgData name="Graf Thomas, INI-NET-VNC-HCS" userId="487bc3e3-9ce7-4cdd-b7b4-8899ea88d289" providerId="ADAL" clId="{625FAC15-EBBD-4C91-A28C-AA195C9A8788}" dt="2023-07-23T22:15:00.416" v="1758" actId="478"/>
          <ac:spMkLst>
            <pc:docMk/>
            <pc:sldMk cId="128717953" sldId="2145706251"/>
            <ac:spMk id="14" creationId="{A4229C52-005A-4F3A-826D-8B06B8B911BD}"/>
          </ac:spMkLst>
        </pc:spChg>
        <pc:picChg chg="add del mod modCrop">
          <ac:chgData name="Graf Thomas, INI-NET-VNC-HCS" userId="487bc3e3-9ce7-4cdd-b7b4-8899ea88d289" providerId="ADAL" clId="{625FAC15-EBBD-4C91-A28C-AA195C9A8788}" dt="2023-07-24T13:49:58.973" v="2792" actId="478"/>
          <ac:picMkLst>
            <pc:docMk/>
            <pc:sldMk cId="128717953" sldId="2145706251"/>
            <ac:picMk id="2" creationId="{54C717AE-10C5-381C-944B-E05A4A6FF591}"/>
          </ac:picMkLst>
        </pc:picChg>
        <pc:picChg chg="add mod modCrop">
          <ac:chgData name="Graf Thomas, INI-NET-VNC-HCS" userId="487bc3e3-9ce7-4cdd-b7b4-8899ea88d289" providerId="ADAL" clId="{625FAC15-EBBD-4C91-A28C-AA195C9A8788}" dt="2023-07-24T13:50:36.334" v="2800" actId="1076"/>
          <ac:picMkLst>
            <pc:docMk/>
            <pc:sldMk cId="128717953" sldId="2145706251"/>
            <ac:picMk id="3" creationId="{4C3BF9F6-C7E5-D000-B6C8-04EB420FE9E5}"/>
          </ac:picMkLst>
        </pc:picChg>
        <pc:picChg chg="del">
          <ac:chgData name="Graf Thomas, INI-NET-VNC-HCS" userId="487bc3e3-9ce7-4cdd-b7b4-8899ea88d289" providerId="ADAL" clId="{625FAC15-EBBD-4C91-A28C-AA195C9A8788}" dt="2023-07-24T13:48:15.490" v="2781" actId="478"/>
          <ac:picMkLst>
            <pc:docMk/>
            <pc:sldMk cId="128717953" sldId="2145706251"/>
            <ac:picMk id="6" creationId="{AFE16EF3-7433-40D2-8973-A43D996869BC}"/>
          </ac:picMkLst>
        </pc:picChg>
      </pc:sldChg>
      <pc:sldMasterChg chg="delSldLayout">
        <pc:chgData name="Graf Thomas, INI-NET-VNC-HCS" userId="487bc3e3-9ce7-4cdd-b7b4-8899ea88d289" providerId="ADAL" clId="{625FAC15-EBBD-4C91-A28C-AA195C9A8788}" dt="2023-07-23T16:26:22.041" v="2" actId="47"/>
        <pc:sldMasterMkLst>
          <pc:docMk/>
          <pc:sldMasterMk cId="2299955599" sldId="2147483796"/>
        </pc:sldMasterMkLst>
        <pc:sldLayoutChg chg="del">
          <pc:chgData name="Graf Thomas, INI-NET-VNC-HCS" userId="487bc3e3-9ce7-4cdd-b7b4-8899ea88d289" providerId="ADAL" clId="{625FAC15-EBBD-4C91-A28C-AA195C9A8788}" dt="2023-07-23T16:26:22.041" v="2" actId="47"/>
          <pc:sldLayoutMkLst>
            <pc:docMk/>
            <pc:sldMasterMk cId="2299955599" sldId="2147483796"/>
            <pc:sldLayoutMk cId="1364013481" sldId="2147483816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089569160997734E-2"/>
          <c:y val="3.2089852607709753E-2"/>
          <c:w val="0.9358205782312925"/>
          <c:h val="0.9358205782312925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 w="2857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FFFF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C73F-42EE-BD33-5E7E33FA97EB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C73F-42EE-BD33-5E7E33FA97EB}"/>
              </c:ext>
            </c:extLst>
          </c:dPt>
          <c:dPt>
            <c:idx val="2"/>
            <c:bubble3D val="0"/>
            <c:spPr>
              <a:solidFill>
                <a:srgbClr val="92D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C73F-42EE-BD33-5E7E33FA97EB}"/>
              </c:ext>
            </c:extLst>
          </c:dPt>
          <c:dPt>
            <c:idx val="3"/>
            <c:bubble3D val="0"/>
            <c:spPr>
              <a:solidFill>
                <a:srgbClr val="FFC0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C73F-42EE-BD33-5E7E33FA97EB}"/>
              </c:ext>
            </c:extLst>
          </c:dPt>
          <c:cat>
            <c:strRef>
              <c:f>Tabelle1!$A$2:$A$5</c:f>
              <c:strCache>
                <c:ptCount val="4"/>
                <c:pt idx="0">
                  <c:v>One</c:v>
                </c:pt>
                <c:pt idx="1">
                  <c:v>Two</c:v>
                </c:pt>
                <c:pt idx="2">
                  <c:v>Three</c:v>
                </c:pt>
                <c:pt idx="3">
                  <c:v>Four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</c:v>
                </c:pt>
                <c:pt idx="1">
                  <c:v>3</c:v>
                </c:pt>
                <c:pt idx="2">
                  <c:v>5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C73F-42EE-BD33-5E7E33FA97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4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BDD433-4E40-433E-B175-009AB0739125}" type="datetimeFigureOut">
              <a:rPr lang="de-CH" smtClean="0"/>
              <a:t>24.07.2023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B1C083-703C-451B-9F49-71D74F7A8ADE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62431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3497388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5357742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3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35893928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3403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6220714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79270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4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7462687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99473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6373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390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83943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9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6254683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1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1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1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1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pn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pn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pn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1221319" y="3357563"/>
            <a:ext cx="47857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21319" y="1770065"/>
            <a:ext cx="9766300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 err="1"/>
              <a:t>Titelmasterformat</a:t>
            </a:r>
            <a:r>
              <a:rPr lang="en-GB" noProof="0"/>
              <a:t>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21319" y="3590935"/>
            <a:ext cx="4785783" cy="1062039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 err="1"/>
              <a:t>Formatvorlage</a:t>
            </a:r>
            <a:r>
              <a:rPr lang="en-GB" noProof="0"/>
              <a:t> des </a:t>
            </a:r>
            <a:r>
              <a:rPr lang="en-GB" noProof="0" err="1"/>
              <a:t>Untertitelmasters</a:t>
            </a:r>
            <a:r>
              <a:rPr lang="en-GB" noProof="0"/>
              <a:t>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467515132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Blau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21319" y="1770065"/>
            <a:ext cx="9766300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 err="1"/>
              <a:t>Titelmasterformat</a:t>
            </a:r>
            <a:r>
              <a:rPr lang="en-GB" noProof="0"/>
              <a:t>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21319" y="3590935"/>
            <a:ext cx="4785783" cy="1062039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 err="1"/>
              <a:t>Formatvorlage</a:t>
            </a:r>
            <a:r>
              <a:rPr lang="en-GB" noProof="0"/>
              <a:t> des </a:t>
            </a:r>
            <a:r>
              <a:rPr lang="en-GB" noProof="0" err="1"/>
              <a:t>Untertitelmasters</a:t>
            </a:r>
            <a:r>
              <a:rPr lang="en-GB" noProof="0"/>
              <a:t>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324852921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rgbClr val="DDE3E7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1pPr>
          </a:lstStyle>
          <a:p>
            <a:r>
              <a:rPr lang="en-GB"/>
              <a:t>Click icon </a:t>
            </a:r>
            <a:br>
              <a:rPr lang="en-GB"/>
            </a:br>
            <a:r>
              <a:rPr lang="en-GB"/>
              <a:t>to add pictur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3C7B15AF-35F6-4342-BFFD-60CEF2991A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55600" y="360000"/>
            <a:ext cx="342000" cy="460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C0A1EC-77F3-4323-93F3-DA7A757DE2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199456" y="3933056"/>
            <a:ext cx="5183882" cy="1656000"/>
          </a:xfrm>
        </p:spPr>
        <p:txBody>
          <a:bodyPr tIns="0"/>
          <a:lstStyle>
            <a:lvl1pPr>
              <a:lnSpc>
                <a:spcPct val="90000"/>
              </a:lnSpc>
              <a:defRPr sz="3200"/>
            </a:lvl1pPr>
          </a:lstStyle>
          <a:p>
            <a:pPr lvl="0"/>
            <a:r>
              <a:rPr lang="en-GB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43592996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2">
            <a:extLst>
              <a:ext uri="{FF2B5EF4-FFF2-40B4-BE49-F238E27FC236}">
                <a16:creationId xmlns:a16="http://schemas.microsoft.com/office/drawing/2014/main" id="{31CCA9A7-7392-474F-A97C-4FFD1536D6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828" r="-3007"/>
          <a:stretch/>
        </p:blipFill>
        <p:spPr>
          <a:xfrm>
            <a:off x="1203656" y="0"/>
            <a:ext cx="12237159" cy="6858000"/>
          </a:xfrm>
          <a:prstGeom prst="rect">
            <a:avLst/>
          </a:prstGeom>
          <a:ln>
            <a:noFill/>
          </a:ln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5D46F054-5B83-4656-A174-AFA2194CAC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199456" y="1484313"/>
            <a:ext cx="5112000" cy="4897437"/>
          </a:xfrm>
        </p:spPr>
        <p:txBody>
          <a:bodyPr l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564926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6">
          <p15:clr>
            <a:srgbClr val="547EBF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| 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172BFDC-25B3-4B53-8F94-0FA71FB9C7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96BEA9E-AA8A-4009-9F77-9A844B1639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199456" y="1484313"/>
            <a:ext cx="5112000" cy="48974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78744BB-555F-45E2-92B2-3298A462DB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600" y="360000"/>
            <a:ext cx="342000" cy="462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918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6">
          <p15:clr>
            <a:srgbClr val="547EBF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5" y="332656"/>
            <a:ext cx="10512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561051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| 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172BFDC-25B3-4B53-8F94-0FA71FB9C7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3E6DB4-7ADC-4B55-8AD8-3BA3602682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9F3D12-0829-4466-A8F8-35405B4F1E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600" y="360000"/>
            <a:ext cx="342000" cy="462162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B94C8E0-E39E-40CF-9F7E-CFC728DE09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24889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| 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172BFDC-25B3-4B53-8F94-0FA71FB9C7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33333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15E00E-D6FB-4E33-8601-E8BA89784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0442036-1C04-47BC-98AD-23710B5C32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600" y="360000"/>
            <a:ext cx="342000" cy="462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4583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apiteltrenner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0.1.2019</a:t>
            </a:r>
            <a:endParaRPr lang="en-GB">
              <a:solidFill>
                <a:prstClr val="white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5AB295-D6C4-47D1-A1F8-2C867292F84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Introduction to Telemetry </a:t>
            </a:r>
            <a:endParaRPr lang="en-GB">
              <a:solidFill>
                <a:prstClr val="white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10464800" cy="1944688"/>
          </a:xfrm>
          <a:prstGeom prst="rect">
            <a:avLst/>
          </a:prstGeom>
        </p:spPr>
        <p:txBody>
          <a:bodyPr bIns="0" anchor="ctr"/>
          <a:lstStyle>
            <a:lvl1pPr marL="490414" indent="-490414">
              <a:spcBef>
                <a:spcPts val="0"/>
              </a:spcBef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0" indent="-489476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2pPr>
            <a:lvl3pPr marL="0" indent="-489476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3pPr>
            <a:lvl4pPr marL="0" indent="0">
              <a:buNone/>
              <a:defRPr sz="4400"/>
            </a:lvl4pPr>
            <a:lvl5pPr marL="0" indent="-489476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5pPr>
            <a:lvl6pPr marL="0" indent="-489476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6pPr>
            <a:lvl7pPr marL="0" indent="-489476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7pPr>
            <a:lvl8pPr marL="0" indent="-489476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8pPr>
            <a:lvl9pPr marL="0" indent="-489476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Line 8"/>
          <p:cNvSpPr>
            <a:spLocks noChangeShapeType="1"/>
          </p:cNvSpPr>
          <p:nvPr/>
        </p:nvSpPr>
        <p:spPr bwMode="gray">
          <a:xfrm flipV="1">
            <a:off x="1198493" y="141272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21893" tIns="60945" rIns="121893" bIns="60945"/>
          <a:lstStyle/>
          <a:p>
            <a:endParaRPr lang="en-GB" sz="1867">
              <a:solidFill>
                <a:prstClr val="white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/>
        </p:nvSpPr>
        <p:spPr bwMode="gray">
          <a:xfrm flipV="1">
            <a:off x="1198493" y="3356991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21893" tIns="60945" rIns="121893" bIns="60945"/>
          <a:lstStyle/>
          <a:p>
            <a:endParaRPr lang="en-GB" sz="1867">
              <a:solidFill>
                <a:prstClr val="white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/>
        </p:nvSpPr>
        <p:spPr bwMode="gray">
          <a:xfrm>
            <a:off x="11567594" y="1412875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21893" tIns="60945" rIns="121893" bIns="60945"/>
          <a:lstStyle/>
          <a:p>
            <a:endParaRPr lang="en-GB" sz="1867">
              <a:solidFill>
                <a:prstClr val="white"/>
              </a:solidFill>
            </a:endParaRPr>
          </a:p>
        </p:txBody>
      </p:sp>
      <p:sp>
        <p:nvSpPr>
          <p:cNvPr id="11" name="Line 13"/>
          <p:cNvSpPr>
            <a:spLocks noChangeShapeType="1"/>
          </p:cNvSpPr>
          <p:nvPr/>
        </p:nvSpPr>
        <p:spPr bwMode="gray">
          <a:xfrm>
            <a:off x="11567594" y="6021288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21893" tIns="60945" rIns="121893" bIns="60945"/>
          <a:lstStyle/>
          <a:p>
            <a:endParaRPr lang="en-GB" sz="1867">
              <a:solidFill>
                <a:prstClr val="white"/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3"/>
            <a:ext cx="762000" cy="42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8999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2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10.1.2019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09E9E80D-70AF-457A-95FA-A9D03F861920}" type="slidenum">
              <a:rPr lang="de-CH" smtClean="0"/>
              <a:t>‹#›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Introduction to Telemetry </a:t>
            </a:r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7"/>
          </p:nvPr>
        </p:nvSpPr>
        <p:spPr>
          <a:xfrm>
            <a:off x="1200151" y="1773241"/>
            <a:ext cx="4800600" cy="20878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3" name="Inhaltsplatzhalter 7"/>
          <p:cNvSpPr>
            <a:spLocks noGrp="1"/>
          </p:cNvSpPr>
          <p:nvPr>
            <p:ph sz="quarter" idx="18"/>
          </p:nvPr>
        </p:nvSpPr>
        <p:spPr>
          <a:xfrm>
            <a:off x="6191251" y="1773241"/>
            <a:ext cx="4800600" cy="20878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6" name="Inhaltsplatzhalter 7"/>
          <p:cNvSpPr>
            <a:spLocks noGrp="1"/>
          </p:cNvSpPr>
          <p:nvPr>
            <p:ph sz="quarter" idx="19"/>
          </p:nvPr>
        </p:nvSpPr>
        <p:spPr>
          <a:xfrm>
            <a:off x="1200151" y="4005064"/>
            <a:ext cx="4800600" cy="201622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7" name="Inhaltsplatzhalter 7"/>
          <p:cNvSpPr>
            <a:spLocks noGrp="1"/>
          </p:cNvSpPr>
          <p:nvPr>
            <p:ph sz="quarter" idx="20"/>
          </p:nvPr>
        </p:nvSpPr>
        <p:spPr>
          <a:xfrm>
            <a:off x="6191251" y="4005064"/>
            <a:ext cx="4800600" cy="201622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797847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/>
          <a:p>
            <a:r>
              <a:rPr lang="en-GB"/>
              <a:t>Author, Date, Presentation title, C0 classific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24492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Bulleted Text Light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927" y="291109"/>
            <a:ext cx="11653835" cy="896519"/>
          </a:xfrm>
        </p:spPr>
        <p:txBody>
          <a:bodyPr/>
          <a:lstStyle>
            <a:lvl1pPr>
              <a:defRPr sz="4800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69241" y="1663949"/>
            <a:ext cx="10757097" cy="1831701"/>
          </a:xfrm>
        </p:spPr>
        <p:txBody>
          <a:bodyPr/>
          <a:lstStyle>
            <a:lvl1pPr>
              <a:defRPr sz="21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0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26027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e Inhalt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10D1357-C544-4E8D-8602-6414198CD50C}" type="slidenum">
              <a:rPr lang="en-GB" altLang="de-DE"/>
              <a:pPr/>
              <a:t>‹#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r>
              <a:rPr lang="de-CH"/>
              <a:t>Swisscom IT Services - „Wo stehen wir heute, wo wollen wir hin?“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610351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90B452-A44A-4E43-95CC-332CC049A783}" type="slidenum">
              <a:rPr lang="de-DE" altLang="de-DE" smtClean="0"/>
              <a:pPr>
                <a:defRPr/>
              </a:pPr>
              <a:t>‹#›</a:t>
            </a:fld>
            <a:endParaRPr lang="de-DE" alt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1200150" y="1700809"/>
            <a:ext cx="9792395" cy="460923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40276066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6" y="285"/>
            <a:ext cx="12190993" cy="685743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200155" y="1773247"/>
            <a:ext cx="8736276" cy="1584327"/>
          </a:xfrm>
          <a:prstGeom prst="rect">
            <a:avLst/>
          </a:prstGeom>
        </p:spPr>
        <p:txBody>
          <a:bodyPr bIns="126000" anchor="b"/>
          <a:lstStyle>
            <a:lvl1pPr marL="0" indent="0"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560" y="5652279"/>
            <a:ext cx="1728000" cy="958960"/>
          </a:xfrm>
          <a:prstGeom prst="rect">
            <a:avLst/>
          </a:prstGeom>
        </p:spPr>
      </p:pic>
      <p:sp>
        <p:nvSpPr>
          <p:cNvPr id="9" name="Line 11"/>
          <p:cNvSpPr>
            <a:spLocks noChangeShapeType="1"/>
          </p:cNvSpPr>
          <p:nvPr userDrawn="1"/>
        </p:nvSpPr>
        <p:spPr bwMode="gray">
          <a:xfrm>
            <a:off x="1200152" y="3357563"/>
            <a:ext cx="489584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200151" y="3573467"/>
            <a:ext cx="4895848" cy="1223689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288"/>
              </a:spcBef>
              <a:buNone/>
              <a:defRPr sz="1200">
                <a:solidFill>
                  <a:schemeClr val="tx1"/>
                </a:solidFill>
              </a:defRPr>
            </a:lvl1pPr>
            <a:lvl2pPr marL="3175" indent="0" algn="l">
              <a:buNone/>
              <a:defRPr sz="1200">
                <a:solidFill>
                  <a:schemeClr val="tx1"/>
                </a:solidFill>
              </a:defRPr>
            </a:lvl2pPr>
            <a:lvl3pPr marL="3175" indent="0" algn="l">
              <a:buNone/>
              <a:defRPr sz="1200">
                <a:solidFill>
                  <a:schemeClr val="tx1"/>
                </a:solidFill>
              </a:defRPr>
            </a:lvl3pPr>
            <a:lvl4pPr marL="3175" indent="0" algn="l">
              <a:buNone/>
              <a:defRPr sz="1200">
                <a:solidFill>
                  <a:schemeClr val="tx1"/>
                </a:solidFill>
              </a:defRPr>
            </a:lvl4pPr>
            <a:lvl5pPr marL="3175" indent="0" algn="l">
              <a:buNone/>
              <a:defRPr sz="1200">
                <a:solidFill>
                  <a:schemeClr val="tx1"/>
                </a:solidFill>
              </a:defRPr>
            </a:lvl5pPr>
            <a:lvl6pPr marL="3175" indent="0" algn="l">
              <a:buNone/>
              <a:defRPr sz="1200">
                <a:solidFill>
                  <a:schemeClr val="tx1"/>
                </a:solidFill>
              </a:defRPr>
            </a:lvl6pPr>
            <a:lvl7pPr marL="3175" indent="0" algn="l">
              <a:buNone/>
              <a:defRPr sz="1200">
                <a:solidFill>
                  <a:schemeClr val="tx1"/>
                </a:solidFill>
              </a:defRPr>
            </a:lvl7pPr>
            <a:lvl8pPr marL="3175" indent="0" algn="l">
              <a:buNone/>
              <a:defRPr sz="1200">
                <a:solidFill>
                  <a:schemeClr val="tx1"/>
                </a:solidFill>
              </a:defRPr>
            </a:lvl8pPr>
            <a:lvl9pPr marL="3175" indent="0" algn="l">
              <a:buNone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39035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3"/>
            <a:ext cx="10464800" cy="1152525"/>
          </a:xfrm>
          <a:prstGeom prst="rect">
            <a:avLst/>
          </a:prstGeom>
        </p:spPr>
        <p:txBody>
          <a:bodyPr tIns="0" rIns="0" bIns="108000"/>
          <a:lstStyle>
            <a:lvl1pPr marL="490538" indent="-490538"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1200153" y="1772770"/>
            <a:ext cx="9791700" cy="4248619"/>
          </a:xfrm>
          <a:prstGeom prst="rect">
            <a:avLst/>
          </a:prstGeom>
        </p:spPr>
        <p:txBody>
          <a:bodyPr/>
          <a:lstStyle>
            <a:lvl1pPr marL="182563" indent="-182563">
              <a:defRPr/>
            </a:lvl1pPr>
            <a:lvl2pPr marL="539750" indent="-182563">
              <a:defRPr/>
            </a:lvl2pPr>
            <a:lvl3pPr marL="898525" indent="-184150">
              <a:defRPr/>
            </a:lvl3pPr>
            <a:lvl4pPr marL="1255713" indent="-184150">
              <a:defRPr/>
            </a:lvl4pPr>
            <a:lvl5pPr marL="1612900" indent="-17462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C75F937F-578B-432D-B413-03DE4E4B2A9B}" type="slidenum">
              <a:rPr lang="en-GB">
                <a:solidFill>
                  <a:srgbClr val="001155"/>
                </a:solidFill>
              </a:rPr>
              <a:pPr/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>
                <a:solidFill>
                  <a:srgbClr val="001155"/>
                </a:solidFill>
              </a:rPr>
              <a:t>Classification, First name &amp; surname, Organization, </a:t>
            </a:r>
            <a:r>
              <a:rPr lang="en-GB" err="1">
                <a:solidFill>
                  <a:srgbClr val="001155"/>
                </a:solidFill>
              </a:rPr>
              <a:t>Filename_Version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330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3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1200151" y="1773245"/>
            <a:ext cx="4799836" cy="4248151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192014" y="1773245"/>
            <a:ext cx="4799837" cy="4248151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en-GB">
                <a:solidFill>
                  <a:srgbClr val="001155"/>
                </a:solidFill>
              </a:rPr>
              <a:pPr/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36883231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3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1200151" y="1773245"/>
            <a:ext cx="4799836" cy="4248151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91251" y="1773245"/>
            <a:ext cx="4800600" cy="42481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</p:spTree>
    <p:extLst>
      <p:ext uri="{BB962C8B-B14F-4D97-AF65-F5344CB8AC3E}">
        <p14:creationId xmlns:p14="http://schemas.microsoft.com/office/powerpoint/2010/main" val="31788200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3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1200151" y="1773239"/>
            <a:ext cx="4799836" cy="2303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182563" indent="-182563">
              <a:buClr>
                <a:schemeClr val="accent2"/>
              </a:buClr>
              <a:buFont typeface="Arial" pitchFamily="34" charset="0"/>
              <a:buChar char="•"/>
              <a:defRPr sz="1200"/>
            </a:lvl2pPr>
            <a:lvl3pPr marL="361950" indent="-184150">
              <a:defRPr sz="1200"/>
            </a:lvl3pPr>
            <a:lvl4pPr marL="536575" indent="-184150">
              <a:defRPr sz="1200"/>
            </a:lvl4pPr>
            <a:lvl5pPr marL="714375" indent="-182563">
              <a:defRPr sz="1200"/>
            </a:lvl5pPr>
            <a:lvl6pPr marL="714375" indent="-174625">
              <a:defRPr sz="1200"/>
            </a:lvl6pPr>
            <a:lvl7pPr marL="714375" indent="-174625">
              <a:defRPr sz="1200"/>
            </a:lvl7pPr>
            <a:lvl8pPr marL="714375" indent="-174625">
              <a:defRPr sz="1200"/>
            </a:lvl8pPr>
            <a:lvl9pPr marL="714375" indent="-174625">
              <a:defRPr sz="12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91251" y="1773239"/>
            <a:ext cx="4800600" cy="230385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943840" y="4220565"/>
            <a:ext cx="6048011" cy="24485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196143" y="4220565"/>
            <a:ext cx="3555671" cy="24485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</p:spTree>
    <p:extLst>
      <p:ext uri="{BB962C8B-B14F-4D97-AF65-F5344CB8AC3E}">
        <p14:creationId xmlns:p14="http://schemas.microsoft.com/office/powerpoint/2010/main" val="4090099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3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7"/>
          </p:nvPr>
        </p:nvSpPr>
        <p:spPr>
          <a:xfrm>
            <a:off x="1200151" y="1773248"/>
            <a:ext cx="4800600" cy="20878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Inhaltsplatzhalter 7"/>
          <p:cNvSpPr>
            <a:spLocks noGrp="1"/>
          </p:cNvSpPr>
          <p:nvPr>
            <p:ph sz="quarter" idx="18"/>
          </p:nvPr>
        </p:nvSpPr>
        <p:spPr>
          <a:xfrm>
            <a:off x="6191251" y="1773248"/>
            <a:ext cx="4800600" cy="20878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Inhaltsplatzhalter 7"/>
          <p:cNvSpPr>
            <a:spLocks noGrp="1"/>
          </p:cNvSpPr>
          <p:nvPr>
            <p:ph sz="quarter" idx="19"/>
          </p:nvPr>
        </p:nvSpPr>
        <p:spPr>
          <a:xfrm>
            <a:off x="1200151" y="4005064"/>
            <a:ext cx="4800600" cy="2016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Inhaltsplatzhalter 7"/>
          <p:cNvSpPr>
            <a:spLocks noGrp="1"/>
          </p:cNvSpPr>
          <p:nvPr>
            <p:ph sz="quarter" idx="20"/>
          </p:nvPr>
        </p:nvSpPr>
        <p:spPr>
          <a:xfrm>
            <a:off x="6191251" y="4005064"/>
            <a:ext cx="4800600" cy="2016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19660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fld id="{900360E6-E0D1-4DE3-B7EF-572E88BF987B}" type="datetime1">
              <a:rPr lang="de-CH"/>
              <a:pPr>
                <a:defRPr/>
              </a:pPr>
              <a:t>24.07.2023</a:t>
            </a:fld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heSans Swisscom Light" panose="020B0300040303060204" pitchFamily="34" charset="0"/>
              </a:defRPr>
            </a:lvl1pPr>
          </a:lstStyle>
          <a:p>
            <a:fld id="{0034A0F2-D3A6-41CD-94FA-346F3252FA64}" type="slidenum">
              <a:rPr lang="en-GB" altLang="de-DE"/>
              <a:pPr/>
              <a:t>‹#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</a:p>
        </p:txBody>
      </p:sp>
    </p:spTree>
    <p:extLst>
      <p:ext uri="{BB962C8B-B14F-4D97-AF65-F5344CB8AC3E}">
        <p14:creationId xmlns:p14="http://schemas.microsoft.com/office/powerpoint/2010/main" val="1214628970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</p:spTree>
    <p:extLst>
      <p:ext uri="{BB962C8B-B14F-4D97-AF65-F5344CB8AC3E}">
        <p14:creationId xmlns:p14="http://schemas.microsoft.com/office/powerpoint/2010/main" val="20457940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3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C9256D23-CF6F-4568-8D84-AFC419FB7476}" type="slidenum">
              <a:rPr lang="en-GB">
                <a:solidFill>
                  <a:srgbClr val="001155"/>
                </a:solidFill>
              </a:rPr>
              <a:pPr/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18190765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45AB295-D6C4-47D1-A1F8-2C867292F84F}" type="slidenum">
              <a:rPr lang="en-GB">
                <a:solidFill>
                  <a:srgbClr val="001155"/>
                </a:solidFill>
              </a:rPr>
              <a:pPr/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4"/>
            <a:ext cx="762000" cy="422875"/>
          </a:xfrm>
          <a:prstGeom prst="rect">
            <a:avLst/>
          </a:prstGeom>
        </p:spPr>
      </p:pic>
      <p:sp>
        <p:nvSpPr>
          <p:cNvPr id="6" name="Line 13"/>
          <p:cNvSpPr>
            <a:spLocks noChangeShapeType="1"/>
          </p:cNvSpPr>
          <p:nvPr userDrawn="1"/>
        </p:nvSpPr>
        <p:spPr bwMode="gray">
          <a:xfrm>
            <a:off x="11567604" y="60212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569718" y="1412776"/>
            <a:ext cx="38295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6030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45AB295-D6C4-47D1-A1F8-2C867292F84F}" type="slidenum">
              <a:rPr lang="en-GB">
                <a:solidFill>
                  <a:srgbClr val="001155"/>
                </a:solidFill>
              </a:rPr>
              <a:pPr/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10464800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latin typeface="+mj-lt"/>
              </a:defRPr>
            </a:lvl1pPr>
            <a:lvl2pPr marL="536575" indent="-489600">
              <a:spcBef>
                <a:spcPts val="0"/>
              </a:spcBef>
              <a:buFont typeface="Arial" pitchFamily="34" charset="0"/>
              <a:buNone/>
              <a:defRPr sz="4400"/>
            </a:lvl2pPr>
            <a:lvl3pPr marL="536575" indent="-489600">
              <a:spcBef>
                <a:spcPts val="0"/>
              </a:spcBef>
              <a:buFont typeface="Arial" pitchFamily="34" charset="0"/>
              <a:buNone/>
              <a:defRPr sz="4400"/>
            </a:lvl3pPr>
            <a:lvl4pPr marL="0" indent="0">
              <a:buNone/>
              <a:defRPr sz="4400"/>
            </a:lvl4pPr>
            <a:lvl5pPr marL="536575" indent="-489600">
              <a:spcBef>
                <a:spcPts val="0"/>
              </a:spcBef>
              <a:buFont typeface="Arial" pitchFamily="34" charset="0"/>
              <a:buNone/>
              <a:defRPr sz="4400"/>
            </a:lvl5pPr>
            <a:lvl6pPr marL="536575" indent="-489600">
              <a:spcBef>
                <a:spcPts val="0"/>
              </a:spcBef>
              <a:buNone/>
              <a:defRPr sz="4400"/>
            </a:lvl6pPr>
            <a:lvl7pPr marL="536575" indent="-489600">
              <a:spcBef>
                <a:spcPts val="0"/>
              </a:spcBef>
              <a:buNone/>
              <a:defRPr sz="4400"/>
            </a:lvl7pPr>
            <a:lvl8pPr marL="536575" indent="-489600">
              <a:spcBef>
                <a:spcPts val="0"/>
              </a:spcBef>
              <a:buNone/>
              <a:defRPr sz="4400"/>
            </a:lvl8pPr>
            <a:lvl9pPr marL="536575" indent="-48960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98491" y="3356991"/>
            <a:ext cx="979336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0373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dd/mm/yyyy</a:t>
            </a:r>
            <a:endParaRPr lang="en-GB">
              <a:solidFill>
                <a:prstClr val="white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5AB295-D6C4-47D1-A1F8-2C867292F84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10464800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2pPr>
            <a:lvl3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3pPr>
            <a:lvl4pPr marL="0" indent="0">
              <a:buNone/>
              <a:defRPr sz="4400"/>
            </a:lvl4pPr>
            <a:lvl5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5pPr>
            <a:lvl6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6pPr>
            <a:lvl7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7pPr>
            <a:lvl8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8pPr>
            <a:lvl9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98491" y="3356991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gray">
          <a:xfrm>
            <a:off x="11567604" y="1412875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1" name="Line 13"/>
          <p:cNvSpPr>
            <a:spLocks noChangeShapeType="1"/>
          </p:cNvSpPr>
          <p:nvPr userDrawn="1"/>
        </p:nvSpPr>
        <p:spPr bwMode="gray">
          <a:xfrm>
            <a:off x="11567604" y="6021288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4"/>
            <a:ext cx="762000" cy="42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4192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dd/mm/yyyy</a:t>
            </a:r>
            <a:endParaRPr lang="en-GB">
              <a:solidFill>
                <a:prstClr val="white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5AB295-D6C4-47D1-A1F8-2C867292F84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10464800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2pPr>
            <a:lvl3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3pPr>
            <a:lvl4pPr marL="0" indent="0">
              <a:buNone/>
              <a:defRPr sz="4400"/>
            </a:lvl4pPr>
            <a:lvl5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5pPr>
            <a:lvl6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6pPr>
            <a:lvl7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7pPr>
            <a:lvl8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8pPr>
            <a:lvl9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98491" y="3356991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gray">
          <a:xfrm>
            <a:off x="11567604" y="1412875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1" name="Line 13"/>
          <p:cNvSpPr>
            <a:spLocks noChangeShapeType="1"/>
          </p:cNvSpPr>
          <p:nvPr userDrawn="1"/>
        </p:nvSpPr>
        <p:spPr bwMode="gray">
          <a:xfrm>
            <a:off x="11567604" y="6021288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prstClr val="white"/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4"/>
            <a:ext cx="762000" cy="42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0822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"/>
            </a:lvl1pPr>
          </a:lstStyle>
          <a:p>
            <a:r>
              <a:rPr lang="de-CH" noProof="0"/>
              <a:t>Platzieren Sie hier ein Bild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7" y="1412875"/>
            <a:ext cx="5568951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solidFill>
                  <a:schemeClr val="tx1"/>
                </a:solidFill>
                <a:latin typeface="+mj-lt"/>
              </a:defRPr>
            </a:lvl1pPr>
            <a:lvl2pPr marL="0" indent="-489600">
              <a:spcBef>
                <a:spcPts val="0"/>
              </a:spcBef>
              <a:buFont typeface="Arial" pitchFamily="34" charset="0"/>
              <a:buNone/>
              <a:defRPr sz="4400"/>
            </a:lvl2pPr>
            <a:lvl3pPr marL="0" indent="-489600">
              <a:spcBef>
                <a:spcPts val="0"/>
              </a:spcBef>
              <a:buFont typeface="Arial" pitchFamily="34" charset="0"/>
              <a:buNone/>
              <a:defRPr sz="4400"/>
            </a:lvl3pPr>
            <a:lvl4pPr marL="0" indent="0">
              <a:buNone/>
              <a:defRPr sz="4400"/>
            </a:lvl4pPr>
            <a:lvl5pPr marL="0" indent="-489600">
              <a:spcBef>
                <a:spcPts val="0"/>
              </a:spcBef>
              <a:buFont typeface="Arial" pitchFamily="34" charset="0"/>
              <a:buNone/>
              <a:defRPr sz="4400"/>
            </a:lvl5pPr>
            <a:lvl6pPr marL="0" indent="-489600">
              <a:spcBef>
                <a:spcPts val="0"/>
              </a:spcBef>
              <a:buNone/>
              <a:defRPr sz="4400"/>
            </a:lvl6pPr>
            <a:lvl7pPr marL="0" indent="-489600">
              <a:spcBef>
                <a:spcPts val="0"/>
              </a:spcBef>
              <a:buNone/>
              <a:defRPr sz="4400"/>
            </a:lvl7pPr>
            <a:lvl8pPr marL="0" indent="-489600">
              <a:spcBef>
                <a:spcPts val="0"/>
              </a:spcBef>
              <a:buNone/>
              <a:defRPr sz="4400"/>
            </a:lvl8pPr>
            <a:lvl9pPr marL="0" indent="-48960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 bwMode="gray">
          <a:xfrm>
            <a:off x="1198034" y="3860810"/>
            <a:ext cx="4897967" cy="1368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1209617" y="1407959"/>
            <a:ext cx="4876800" cy="36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miter lim="800000"/>
          </a:ln>
        </p:spPr>
        <p:txBody>
          <a:bodyPr anchor="ctr"/>
          <a:lstStyle>
            <a:lvl1pPr marL="0" indent="0">
              <a:buNone/>
              <a:defRPr sz="100" baseline="0"/>
            </a:lvl1pPr>
          </a:lstStyle>
          <a:p>
            <a:r>
              <a:rPr lang="en-GB"/>
              <a:t> </a:t>
            </a:r>
          </a:p>
        </p:txBody>
      </p:sp>
      <p:sp>
        <p:nvSpPr>
          <p:cNvPr id="9" name="Bildplatzhalter 1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1209617" y="3357563"/>
            <a:ext cx="4876800" cy="36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miter lim="800000"/>
          </a:ln>
        </p:spPr>
        <p:txBody>
          <a:bodyPr anchor="ctr"/>
          <a:lstStyle>
            <a:lvl1pPr marL="0" indent="0">
              <a:buNone/>
              <a:defRPr sz="100"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974282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227" y="260569"/>
            <a:ext cx="10465453" cy="115215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>
                <a:solidFill>
                  <a:srgbClr val="001155"/>
                </a:solidFill>
              </a:rPr>
              <a:t>dd/mm/yyyy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4152B43-0D93-45A1-BE43-5405A99BCA7F}" type="slidenum">
              <a:rPr lang="en-GB" smtClean="0">
                <a:solidFill>
                  <a:srgbClr val="001155"/>
                </a:solidFill>
              </a:rPr>
              <a:pPr/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GB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1200152" y="1773239"/>
            <a:ext cx="4895849" cy="4392612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 u="sng"/>
            </a:lvl3pPr>
            <a:lvl4pPr marL="0" indent="0">
              <a:buNone/>
              <a:defRPr sz="1200"/>
            </a:lvl4pPr>
            <a:lvl5pPr marL="0" indent="0">
              <a:buFont typeface="Arial" pitchFamily="34" charset="0"/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832057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auf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3"/>
            <a:ext cx="10464800" cy="11525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dd/mm/yyyy</a:t>
            </a:r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152B43-0D93-45A1-BE43-5405A99BCA7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Classification, First name &amp; surname, Organization, Filename_Versio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1200152" y="1773239"/>
            <a:ext cx="4895849" cy="4392612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None/>
              <a:defRPr sz="1200" u="sng">
                <a:solidFill>
                  <a:schemeClr val="bg1"/>
                </a:solidFill>
              </a:defRPr>
            </a:lvl3pPr>
            <a:lvl4pPr marL="0" indent="0">
              <a:buNone/>
              <a:defRPr sz="1200"/>
            </a:lvl4pPr>
            <a:lvl5pPr marL="0" indent="0">
              <a:buFont typeface="Arial" pitchFamily="34" charset="0"/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gray">
          <a:xfrm>
            <a:off x="11567604" y="1412875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11" name="Line 13"/>
          <p:cNvSpPr>
            <a:spLocks noChangeShapeType="1"/>
          </p:cNvSpPr>
          <p:nvPr userDrawn="1"/>
        </p:nvSpPr>
        <p:spPr bwMode="gray">
          <a:xfrm>
            <a:off x="11567604" y="6021288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4"/>
            <a:ext cx="762000" cy="42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8961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90B452-A44A-4E43-95CC-332CC049A783}" type="slidenum">
              <a:rPr lang="de-DE" altLang="de-DE" smtClean="0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de-DE" altLang="de-DE">
              <a:solidFill>
                <a:srgbClr val="001155"/>
              </a:solidFill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1200150" y="1700809"/>
            <a:ext cx="9792395" cy="460923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8151841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fld id="{72CDD404-C64A-4714-B349-0177F9317ABB}" type="datetime1">
              <a:rPr lang="de-CH"/>
              <a:pPr>
                <a:defRPr/>
              </a:pPr>
              <a:t>24.07.2023</a:t>
            </a:fld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heSans Swisscom Light" panose="020B0300040303060204" pitchFamily="34" charset="0"/>
              </a:defRPr>
            </a:lvl1pPr>
          </a:lstStyle>
          <a:p>
            <a:fld id="{F158ED98-28E3-4B75-BBE0-1823A54BB00E}" type="slidenum">
              <a:rPr lang="en-GB" altLang="de-DE"/>
              <a:pPr/>
              <a:t>‹#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</a:p>
        </p:txBody>
      </p:sp>
    </p:spTree>
    <p:extLst>
      <p:ext uri="{BB962C8B-B14F-4D97-AF65-F5344CB8AC3E}">
        <p14:creationId xmlns:p14="http://schemas.microsoft.com/office/powerpoint/2010/main" val="2676043910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1221318" y="3357563"/>
            <a:ext cx="47857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21318" y="1770064"/>
            <a:ext cx="9766300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 err="1"/>
              <a:t>Titelmasterformat</a:t>
            </a:r>
            <a:r>
              <a:rPr lang="en-GB" noProof="0"/>
              <a:t>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21318" y="3590925"/>
            <a:ext cx="4785783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 err="1"/>
              <a:t>Formatvorlage</a:t>
            </a:r>
            <a:r>
              <a:rPr lang="en-GB" noProof="0"/>
              <a:t> des </a:t>
            </a:r>
            <a:r>
              <a:rPr lang="en-GB" noProof="0" err="1"/>
              <a:t>Untertitelmasters</a:t>
            </a:r>
            <a:r>
              <a:rPr lang="en-GB" noProof="0"/>
              <a:t>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12404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4768989B-B83C-4FC0-8436-4339C8264BB7}" type="datetime1">
              <a:rPr lang="de-CH" smtClean="0"/>
              <a:pPr>
                <a:buClr>
                  <a:srgbClr val="11AAFF"/>
                </a:buClr>
              </a:pPr>
              <a:t>24.07.2023</a:t>
            </a:fld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D0CB33D5-05CC-4937-B9F5-3343F9D4E6DF}" type="slidenum">
              <a:rPr lang="en-GB"/>
              <a:pPr>
                <a:buClr>
                  <a:srgbClr val="11AAFF"/>
                </a:buClr>
              </a:pPr>
              <a:t>‹#›</a:t>
            </a:fld>
            <a:endParaRPr lang="en-GB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r>
              <a:rPr lang="en-US"/>
              <a:t>Swisscom Cloud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1786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16567EE0-E1CB-43D0-9CC0-7EA6161DD1A3}" type="datetime1">
              <a:rPr lang="de-CH" smtClean="0"/>
              <a:pPr>
                <a:buClr>
                  <a:srgbClr val="11AAFF"/>
                </a:buClr>
              </a:pPr>
              <a:t>24.07.2023</a:t>
            </a:fld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3A0DA8EC-3B94-4BEF-8866-8D298156BB53}" type="slidenum">
              <a:rPr lang="en-GB"/>
              <a:pPr>
                <a:buClr>
                  <a:srgbClr val="11AAFF"/>
                </a:buClr>
              </a:pPr>
              <a:t>‹#›</a:t>
            </a:fld>
            <a:endParaRPr lang="en-GB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r>
              <a:rPr lang="en-US"/>
              <a:t>Swisscom Cloud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4127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F756986E-35CA-4A6B-9087-451DB6177564}" type="datetime1">
              <a:rPr lang="de-CH" smtClean="0"/>
              <a:pPr>
                <a:buClr>
                  <a:srgbClr val="11AAFF"/>
                </a:buClr>
              </a:pPr>
              <a:t>24.07.2023</a:t>
            </a:fld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6CBBF518-836D-4A07-8BA7-61EE55A113C9}" type="slidenum">
              <a:rPr lang="en-GB"/>
              <a:pPr>
                <a:buClr>
                  <a:srgbClr val="11AAFF"/>
                </a:buClr>
              </a:pPr>
              <a:t>‹#›</a:t>
            </a:fld>
            <a:endParaRPr lang="en-GB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r>
              <a:rPr lang="en-US"/>
              <a:t>Swisscom Cloud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2057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3B2F4CBC-53F0-4CC8-A98F-80D9B1813E24}" type="datetime1">
              <a:rPr lang="de-CH" smtClean="0"/>
              <a:pPr>
                <a:buClr>
                  <a:srgbClr val="11AAFF"/>
                </a:buClr>
              </a:pPr>
              <a:t>24.07.2023</a:t>
            </a:fld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fld id="{1ABABF94-A49A-4E70-886F-868B881E347E}" type="slidenum">
              <a:rPr lang="en-GB"/>
              <a:pPr>
                <a:buClr>
                  <a:srgbClr val="11AAFF"/>
                </a:buClr>
              </a:pPr>
              <a:t>‹#›</a:t>
            </a:fld>
            <a:endParaRPr lang="en-GB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buClr>
                <a:srgbClr val="11AAFF"/>
              </a:buClr>
            </a:pPr>
            <a:r>
              <a:rPr lang="en-US"/>
              <a:t>Swisscom Cloud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971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0" y="0"/>
            <a:ext cx="12192000" cy="6864640"/>
            <a:chOff x="0" y="0"/>
            <a:chExt cx="9144000" cy="6864640"/>
          </a:xfrm>
        </p:grpSpPr>
        <p:sp>
          <p:nvSpPr>
            <p:cNvPr id="6" name="Rechteck 5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81641" tIns="40820" rIns="81641" bIns="40820" numCol="1" rtlCol="0" anchor="ctr" anchorCtr="0" compatLnSpc="1">
              <a:prstTxWarp prst="textNoShape">
                <a:avLst/>
              </a:prstTxWarp>
            </a:bodyPr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sp>
        <p:nvSpPr>
          <p:cNvPr id="8" name="Freeform 6"/>
          <p:cNvSpPr>
            <a:spLocks/>
          </p:cNvSpPr>
          <p:nvPr/>
        </p:nvSpPr>
        <p:spPr bwMode="auto">
          <a:xfrm flipH="1">
            <a:off x="-1" y="5243270"/>
            <a:ext cx="11004551" cy="1336918"/>
          </a:xfrm>
          <a:custGeom>
            <a:avLst/>
            <a:gdLst>
              <a:gd name="T0" fmla="*/ 9 w 744"/>
              <a:gd name="T1" fmla="*/ 73 h 134"/>
              <a:gd name="T2" fmla="*/ 20 w 744"/>
              <a:gd name="T3" fmla="*/ 67 h 134"/>
              <a:gd name="T4" fmla="*/ 28 w 744"/>
              <a:gd name="T5" fmla="*/ 74 h 134"/>
              <a:gd name="T6" fmla="*/ 35 w 744"/>
              <a:gd name="T7" fmla="*/ 83 h 134"/>
              <a:gd name="T8" fmla="*/ 53 w 744"/>
              <a:gd name="T9" fmla="*/ 69 h 134"/>
              <a:gd name="T10" fmla="*/ 71 w 744"/>
              <a:gd name="T11" fmla="*/ 21 h 134"/>
              <a:gd name="T12" fmla="*/ 98 w 744"/>
              <a:gd name="T13" fmla="*/ 134 h 134"/>
              <a:gd name="T14" fmla="*/ 106 w 744"/>
              <a:gd name="T15" fmla="*/ 113 h 134"/>
              <a:gd name="T16" fmla="*/ 98 w 744"/>
              <a:gd name="T17" fmla="*/ 105 h 134"/>
              <a:gd name="T18" fmla="*/ 105 w 744"/>
              <a:gd name="T19" fmla="*/ 87 h 134"/>
              <a:gd name="T20" fmla="*/ 98 w 744"/>
              <a:gd name="T21" fmla="*/ 79 h 134"/>
              <a:gd name="T22" fmla="*/ 105 w 744"/>
              <a:gd name="T23" fmla="*/ 59 h 134"/>
              <a:gd name="T24" fmla="*/ 98 w 744"/>
              <a:gd name="T25" fmla="*/ 51 h 134"/>
              <a:gd name="T26" fmla="*/ 105 w 744"/>
              <a:gd name="T27" fmla="*/ 25 h 134"/>
              <a:gd name="T28" fmla="*/ 116 w 744"/>
              <a:gd name="T29" fmla="*/ 73 h 134"/>
              <a:gd name="T30" fmla="*/ 146 w 744"/>
              <a:gd name="T31" fmla="*/ 39 h 134"/>
              <a:gd name="T32" fmla="*/ 192 w 744"/>
              <a:gd name="T33" fmla="*/ 89 h 134"/>
              <a:gd name="T34" fmla="*/ 206 w 744"/>
              <a:gd name="T35" fmla="*/ 64 h 134"/>
              <a:gd name="T36" fmla="*/ 229 w 744"/>
              <a:gd name="T37" fmla="*/ 89 h 134"/>
              <a:gd name="T38" fmla="*/ 236 w 744"/>
              <a:gd name="T39" fmla="*/ 56 h 134"/>
              <a:gd name="T40" fmla="*/ 285 w 744"/>
              <a:gd name="T41" fmla="*/ 88 h 134"/>
              <a:gd name="T42" fmla="*/ 291 w 744"/>
              <a:gd name="T43" fmla="*/ 41 h 134"/>
              <a:gd name="T44" fmla="*/ 326 w 744"/>
              <a:gd name="T45" fmla="*/ 79 h 134"/>
              <a:gd name="T46" fmla="*/ 344 w 744"/>
              <a:gd name="T47" fmla="*/ 49 h 134"/>
              <a:gd name="T48" fmla="*/ 354 w 744"/>
              <a:gd name="T49" fmla="*/ 22 h 134"/>
              <a:gd name="T50" fmla="*/ 374 w 744"/>
              <a:gd name="T51" fmla="*/ 48 h 134"/>
              <a:gd name="T52" fmla="*/ 383 w 744"/>
              <a:gd name="T53" fmla="*/ 81 h 134"/>
              <a:gd name="T54" fmla="*/ 415 w 744"/>
              <a:gd name="T55" fmla="*/ 40 h 134"/>
              <a:gd name="T56" fmla="*/ 470 w 744"/>
              <a:gd name="T57" fmla="*/ 101 h 134"/>
              <a:gd name="T58" fmla="*/ 521 w 744"/>
              <a:gd name="T59" fmla="*/ 79 h 134"/>
              <a:gd name="T60" fmla="*/ 554 w 744"/>
              <a:gd name="T61" fmla="*/ 6 h 134"/>
              <a:gd name="T62" fmla="*/ 561 w 744"/>
              <a:gd name="T63" fmla="*/ 0 h 134"/>
              <a:gd name="T64" fmla="*/ 571 w 744"/>
              <a:gd name="T65" fmla="*/ 6 h 134"/>
              <a:gd name="T66" fmla="*/ 595 w 744"/>
              <a:gd name="T67" fmla="*/ 6 h 134"/>
              <a:gd name="T68" fmla="*/ 606 w 744"/>
              <a:gd name="T69" fmla="*/ 0 h 134"/>
              <a:gd name="T70" fmla="*/ 612 w 744"/>
              <a:gd name="T71" fmla="*/ 6 h 134"/>
              <a:gd name="T72" fmla="*/ 649 w 744"/>
              <a:gd name="T73" fmla="*/ 92 h 134"/>
              <a:gd name="T74" fmla="*/ 705 w 744"/>
              <a:gd name="T75" fmla="*/ 77 h 134"/>
              <a:gd name="T76" fmla="*/ 731 w 744"/>
              <a:gd name="T77" fmla="*/ 92 h 134"/>
              <a:gd name="T78" fmla="*/ 737 w 744"/>
              <a:gd name="T79" fmla="*/ 31 h 134"/>
              <a:gd name="T80" fmla="*/ 744 w 744"/>
              <a:gd name="T81" fmla="*/ 16 h 134"/>
              <a:gd name="T82" fmla="*/ 0 w 744"/>
              <a:gd name="T83" fmla="*/ 134 h 134"/>
              <a:gd name="T84" fmla="*/ 9 w 744"/>
              <a:gd name="T85" fmla="*/ 81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744" h="134">
                <a:moveTo>
                  <a:pt x="9" y="81"/>
                </a:moveTo>
                <a:lnTo>
                  <a:pt x="9" y="73"/>
                </a:lnTo>
                <a:lnTo>
                  <a:pt x="20" y="73"/>
                </a:lnTo>
                <a:lnTo>
                  <a:pt x="20" y="67"/>
                </a:lnTo>
                <a:lnTo>
                  <a:pt x="28" y="67"/>
                </a:lnTo>
                <a:lnTo>
                  <a:pt x="28" y="74"/>
                </a:lnTo>
                <a:lnTo>
                  <a:pt x="35" y="74"/>
                </a:lnTo>
                <a:lnTo>
                  <a:pt x="35" y="83"/>
                </a:lnTo>
                <a:lnTo>
                  <a:pt x="53" y="83"/>
                </a:lnTo>
                <a:lnTo>
                  <a:pt x="53" y="69"/>
                </a:lnTo>
                <a:lnTo>
                  <a:pt x="71" y="59"/>
                </a:lnTo>
                <a:lnTo>
                  <a:pt x="71" y="21"/>
                </a:lnTo>
                <a:lnTo>
                  <a:pt x="98" y="21"/>
                </a:lnTo>
                <a:lnTo>
                  <a:pt x="98" y="134"/>
                </a:lnTo>
                <a:lnTo>
                  <a:pt x="106" y="134"/>
                </a:lnTo>
                <a:lnTo>
                  <a:pt x="106" y="113"/>
                </a:lnTo>
                <a:lnTo>
                  <a:pt x="98" y="113"/>
                </a:lnTo>
                <a:lnTo>
                  <a:pt x="98" y="105"/>
                </a:lnTo>
                <a:lnTo>
                  <a:pt x="105" y="105"/>
                </a:lnTo>
                <a:lnTo>
                  <a:pt x="105" y="87"/>
                </a:lnTo>
                <a:lnTo>
                  <a:pt x="98" y="87"/>
                </a:lnTo>
                <a:lnTo>
                  <a:pt x="98" y="79"/>
                </a:lnTo>
                <a:lnTo>
                  <a:pt x="105" y="79"/>
                </a:lnTo>
                <a:lnTo>
                  <a:pt x="105" y="59"/>
                </a:lnTo>
                <a:lnTo>
                  <a:pt x="98" y="59"/>
                </a:lnTo>
                <a:lnTo>
                  <a:pt x="98" y="51"/>
                </a:lnTo>
                <a:lnTo>
                  <a:pt x="105" y="51"/>
                </a:lnTo>
                <a:lnTo>
                  <a:pt x="105" y="25"/>
                </a:lnTo>
                <a:lnTo>
                  <a:pt x="116" y="44"/>
                </a:lnTo>
                <a:lnTo>
                  <a:pt x="116" y="73"/>
                </a:lnTo>
                <a:lnTo>
                  <a:pt x="146" y="73"/>
                </a:lnTo>
                <a:lnTo>
                  <a:pt x="146" y="39"/>
                </a:lnTo>
                <a:lnTo>
                  <a:pt x="192" y="26"/>
                </a:lnTo>
                <a:lnTo>
                  <a:pt x="192" y="89"/>
                </a:lnTo>
                <a:lnTo>
                  <a:pt x="206" y="89"/>
                </a:lnTo>
                <a:lnTo>
                  <a:pt x="206" y="64"/>
                </a:lnTo>
                <a:lnTo>
                  <a:pt x="229" y="64"/>
                </a:lnTo>
                <a:lnTo>
                  <a:pt x="229" y="89"/>
                </a:lnTo>
                <a:lnTo>
                  <a:pt x="236" y="89"/>
                </a:lnTo>
                <a:lnTo>
                  <a:pt x="236" y="56"/>
                </a:lnTo>
                <a:lnTo>
                  <a:pt x="285" y="69"/>
                </a:lnTo>
                <a:lnTo>
                  <a:pt x="285" y="88"/>
                </a:lnTo>
                <a:lnTo>
                  <a:pt x="291" y="88"/>
                </a:lnTo>
                <a:lnTo>
                  <a:pt x="291" y="41"/>
                </a:lnTo>
                <a:lnTo>
                  <a:pt x="326" y="33"/>
                </a:lnTo>
                <a:lnTo>
                  <a:pt x="326" y="79"/>
                </a:lnTo>
                <a:lnTo>
                  <a:pt x="344" y="79"/>
                </a:lnTo>
                <a:lnTo>
                  <a:pt x="344" y="49"/>
                </a:lnTo>
                <a:lnTo>
                  <a:pt x="354" y="49"/>
                </a:lnTo>
                <a:lnTo>
                  <a:pt x="354" y="22"/>
                </a:lnTo>
                <a:lnTo>
                  <a:pt x="374" y="22"/>
                </a:lnTo>
                <a:lnTo>
                  <a:pt x="374" y="48"/>
                </a:lnTo>
                <a:lnTo>
                  <a:pt x="383" y="48"/>
                </a:lnTo>
                <a:lnTo>
                  <a:pt x="383" y="81"/>
                </a:lnTo>
                <a:lnTo>
                  <a:pt x="415" y="81"/>
                </a:lnTo>
                <a:lnTo>
                  <a:pt x="415" y="40"/>
                </a:lnTo>
                <a:lnTo>
                  <a:pt x="470" y="26"/>
                </a:lnTo>
                <a:lnTo>
                  <a:pt x="470" y="101"/>
                </a:lnTo>
                <a:lnTo>
                  <a:pt x="521" y="101"/>
                </a:lnTo>
                <a:lnTo>
                  <a:pt x="521" y="79"/>
                </a:lnTo>
                <a:lnTo>
                  <a:pt x="554" y="79"/>
                </a:lnTo>
                <a:lnTo>
                  <a:pt x="554" y="6"/>
                </a:lnTo>
                <a:lnTo>
                  <a:pt x="559" y="6"/>
                </a:lnTo>
                <a:lnTo>
                  <a:pt x="561" y="0"/>
                </a:lnTo>
                <a:lnTo>
                  <a:pt x="569" y="0"/>
                </a:lnTo>
                <a:lnTo>
                  <a:pt x="571" y="6"/>
                </a:lnTo>
                <a:lnTo>
                  <a:pt x="578" y="6"/>
                </a:lnTo>
                <a:lnTo>
                  <a:pt x="595" y="6"/>
                </a:lnTo>
                <a:lnTo>
                  <a:pt x="598" y="0"/>
                </a:lnTo>
                <a:lnTo>
                  <a:pt x="606" y="0"/>
                </a:lnTo>
                <a:lnTo>
                  <a:pt x="609" y="6"/>
                </a:lnTo>
                <a:lnTo>
                  <a:pt x="612" y="6"/>
                </a:lnTo>
                <a:lnTo>
                  <a:pt x="612" y="92"/>
                </a:lnTo>
                <a:lnTo>
                  <a:pt x="649" y="92"/>
                </a:lnTo>
                <a:lnTo>
                  <a:pt x="649" y="62"/>
                </a:lnTo>
                <a:lnTo>
                  <a:pt x="705" y="77"/>
                </a:lnTo>
                <a:lnTo>
                  <a:pt x="705" y="92"/>
                </a:lnTo>
                <a:lnTo>
                  <a:pt x="731" y="92"/>
                </a:lnTo>
                <a:lnTo>
                  <a:pt x="731" y="37"/>
                </a:lnTo>
                <a:lnTo>
                  <a:pt x="737" y="31"/>
                </a:lnTo>
                <a:lnTo>
                  <a:pt x="737" y="16"/>
                </a:lnTo>
                <a:lnTo>
                  <a:pt x="744" y="16"/>
                </a:lnTo>
                <a:lnTo>
                  <a:pt x="744" y="134"/>
                </a:lnTo>
                <a:lnTo>
                  <a:pt x="0" y="134"/>
                </a:lnTo>
                <a:lnTo>
                  <a:pt x="0" y="81"/>
                </a:lnTo>
                <a:lnTo>
                  <a:pt x="9" y="81"/>
                </a:lnTo>
                <a:close/>
              </a:path>
            </a:pathLst>
          </a:custGeom>
          <a:solidFill>
            <a:schemeClr val="tx1">
              <a:alpha val="2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solidFill>
                <a:srgbClr val="001155"/>
              </a:solidFill>
            </a:endParaRPr>
          </a:p>
        </p:txBody>
      </p:sp>
      <p:pic>
        <p:nvPicPr>
          <p:cNvPr id="10" name="Picture 17" descr="Swisscom_Stacked_Primary_RGB_PP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7" descr="Swisscom_Stacked_Primary_RGB_PPT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7"/>
          <a:stretch/>
        </p:blipFill>
        <p:spPr bwMode="auto">
          <a:xfrm>
            <a:off x="11059584" y="6084095"/>
            <a:ext cx="1056216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1919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0" y="0"/>
            <a:ext cx="12192000" cy="6864640"/>
            <a:chOff x="0" y="0"/>
            <a:chExt cx="9144000" cy="6864640"/>
          </a:xfrm>
        </p:grpSpPr>
        <p:sp>
          <p:nvSpPr>
            <p:cNvPr id="6" name="Rechteck 5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81641" tIns="40820" rIns="81641" bIns="40820" numCol="1" rtlCol="0" anchor="ctr" anchorCtr="0" compatLnSpc="1">
              <a:prstTxWarp prst="textNoShape">
                <a:avLst/>
              </a:prstTxWarp>
            </a:bodyPr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pic>
        <p:nvPicPr>
          <p:cNvPr id="10" name="Picture 17" descr="Swisscom_Stacked_Primary_RGB_PP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7" descr="Swisscom_Stacked_Primary_RGB_PPT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7"/>
          <a:stretch/>
        </p:blipFill>
        <p:spPr bwMode="auto">
          <a:xfrm>
            <a:off x="11059584" y="6084095"/>
            <a:ext cx="1056216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Group 10"/>
          <p:cNvGrpSpPr>
            <a:grpSpLocks noChangeAspect="1"/>
          </p:cNvGrpSpPr>
          <p:nvPr/>
        </p:nvGrpSpPr>
        <p:grpSpPr bwMode="auto">
          <a:xfrm>
            <a:off x="-9950" y="4677841"/>
            <a:ext cx="11014499" cy="1901375"/>
            <a:chOff x="-18109" y="-2668"/>
            <a:chExt cx="41974" cy="9661"/>
          </a:xfrm>
          <a:solidFill>
            <a:schemeClr val="tx1">
              <a:alpha val="29000"/>
            </a:schemeClr>
          </a:solidFill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-3747" y="4936"/>
              <a:ext cx="626" cy="1383"/>
            </a:xfrm>
            <a:custGeom>
              <a:avLst/>
              <a:gdLst>
                <a:gd name="T0" fmla="*/ 149 w 626"/>
                <a:gd name="T1" fmla="*/ 1383 h 1383"/>
                <a:gd name="T2" fmla="*/ 149 w 626"/>
                <a:gd name="T3" fmla="*/ 1052 h 1383"/>
                <a:gd name="T4" fmla="*/ 229 w 626"/>
                <a:gd name="T5" fmla="*/ 1052 h 1383"/>
                <a:gd name="T6" fmla="*/ 229 w 626"/>
                <a:gd name="T7" fmla="*/ 664 h 1383"/>
                <a:gd name="T8" fmla="*/ 123 w 626"/>
                <a:gd name="T9" fmla="*/ 664 h 1383"/>
                <a:gd name="T10" fmla="*/ 123 w 626"/>
                <a:gd name="T11" fmla="*/ 371 h 1383"/>
                <a:gd name="T12" fmla="*/ 0 w 626"/>
                <a:gd name="T13" fmla="*/ 371 h 1383"/>
                <a:gd name="T14" fmla="*/ 229 w 626"/>
                <a:gd name="T15" fmla="*/ 160 h 1383"/>
                <a:gd name="T16" fmla="*/ 229 w 626"/>
                <a:gd name="T17" fmla="*/ 0 h 1383"/>
                <a:gd name="T18" fmla="*/ 385 w 626"/>
                <a:gd name="T19" fmla="*/ 0 h 1383"/>
                <a:gd name="T20" fmla="*/ 385 w 626"/>
                <a:gd name="T21" fmla="*/ 203 h 1383"/>
                <a:gd name="T22" fmla="*/ 465 w 626"/>
                <a:gd name="T23" fmla="*/ 274 h 1383"/>
                <a:gd name="T24" fmla="*/ 465 w 626"/>
                <a:gd name="T25" fmla="*/ 482 h 1383"/>
                <a:gd name="T26" fmla="*/ 626 w 626"/>
                <a:gd name="T27" fmla="*/ 503 h 1383"/>
                <a:gd name="T28" fmla="*/ 595 w 626"/>
                <a:gd name="T29" fmla="*/ 617 h 1383"/>
                <a:gd name="T30" fmla="*/ 465 w 626"/>
                <a:gd name="T31" fmla="*/ 692 h 1383"/>
                <a:gd name="T32" fmla="*/ 465 w 626"/>
                <a:gd name="T33" fmla="*/ 1056 h 1383"/>
                <a:gd name="T34" fmla="*/ 574 w 626"/>
                <a:gd name="T35" fmla="*/ 1052 h 1383"/>
                <a:gd name="T36" fmla="*/ 574 w 626"/>
                <a:gd name="T37" fmla="*/ 1383 h 1383"/>
                <a:gd name="T38" fmla="*/ 149 w 626"/>
                <a:gd name="T39" fmla="*/ 1383 h 1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6" h="1383">
                  <a:moveTo>
                    <a:pt x="149" y="1383"/>
                  </a:moveTo>
                  <a:lnTo>
                    <a:pt x="149" y="1052"/>
                  </a:lnTo>
                  <a:lnTo>
                    <a:pt x="229" y="1052"/>
                  </a:lnTo>
                  <a:lnTo>
                    <a:pt x="229" y="664"/>
                  </a:lnTo>
                  <a:lnTo>
                    <a:pt x="123" y="664"/>
                  </a:lnTo>
                  <a:lnTo>
                    <a:pt x="123" y="371"/>
                  </a:lnTo>
                  <a:lnTo>
                    <a:pt x="0" y="371"/>
                  </a:lnTo>
                  <a:lnTo>
                    <a:pt x="229" y="160"/>
                  </a:lnTo>
                  <a:lnTo>
                    <a:pt x="229" y="0"/>
                  </a:lnTo>
                  <a:lnTo>
                    <a:pt x="385" y="0"/>
                  </a:lnTo>
                  <a:lnTo>
                    <a:pt x="385" y="203"/>
                  </a:lnTo>
                  <a:lnTo>
                    <a:pt x="465" y="274"/>
                  </a:lnTo>
                  <a:lnTo>
                    <a:pt x="465" y="482"/>
                  </a:lnTo>
                  <a:lnTo>
                    <a:pt x="626" y="503"/>
                  </a:lnTo>
                  <a:lnTo>
                    <a:pt x="595" y="617"/>
                  </a:lnTo>
                  <a:lnTo>
                    <a:pt x="465" y="692"/>
                  </a:lnTo>
                  <a:lnTo>
                    <a:pt x="465" y="1056"/>
                  </a:lnTo>
                  <a:lnTo>
                    <a:pt x="574" y="1052"/>
                  </a:lnTo>
                  <a:lnTo>
                    <a:pt x="574" y="1383"/>
                  </a:lnTo>
                  <a:lnTo>
                    <a:pt x="149" y="13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>
                <a:solidFill>
                  <a:srgbClr val="001155"/>
                </a:solidFill>
              </a:endParaRPr>
            </a:p>
          </p:txBody>
        </p:sp>
        <p:sp>
          <p:nvSpPr>
            <p:cNvPr id="18" name="Rectangle 12"/>
            <p:cNvSpPr>
              <a:spLocks noChangeArrowheads="1"/>
            </p:cNvSpPr>
            <p:nvPr userDrawn="1"/>
          </p:nvSpPr>
          <p:spPr bwMode="auto">
            <a:xfrm>
              <a:off x="-628" y="-2668"/>
              <a:ext cx="85" cy="76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>
                <a:solidFill>
                  <a:srgbClr val="001155"/>
                </a:solidFill>
              </a:endParaRPr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2067" y="-2663"/>
              <a:ext cx="85" cy="76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>
                <a:solidFill>
                  <a:srgbClr val="001155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-18109" y="-2065"/>
              <a:ext cx="41974" cy="9058"/>
            </a:xfrm>
            <a:custGeom>
              <a:avLst/>
              <a:gdLst>
                <a:gd name="T0" fmla="*/ 17047 w 17766"/>
                <a:gd name="T1" fmla="*/ 2902 h 3831"/>
                <a:gd name="T2" fmla="*/ 16779 w 17766"/>
                <a:gd name="T3" fmla="*/ 2752 h 3831"/>
                <a:gd name="T4" fmla="*/ 15890 w 17766"/>
                <a:gd name="T5" fmla="*/ 3227 h 3831"/>
                <a:gd name="T6" fmla="*/ 15733 w 17766"/>
                <a:gd name="T7" fmla="*/ 2939 h 3831"/>
                <a:gd name="T8" fmla="*/ 15029 w 17766"/>
                <a:gd name="T9" fmla="*/ 2963 h 3831"/>
                <a:gd name="T10" fmla="*/ 14436 w 17766"/>
                <a:gd name="T11" fmla="*/ 1243 h 3831"/>
                <a:gd name="T12" fmla="*/ 13194 w 17766"/>
                <a:gd name="T13" fmla="*/ 2613 h 3831"/>
                <a:gd name="T14" fmla="*/ 12928 w 17766"/>
                <a:gd name="T15" fmla="*/ 243 h 3831"/>
                <a:gd name="T16" fmla="*/ 12426 w 17766"/>
                <a:gd name="T17" fmla="*/ 2273 h 3831"/>
                <a:gd name="T18" fmla="*/ 11923 w 17766"/>
                <a:gd name="T19" fmla="*/ 3499 h 3831"/>
                <a:gd name="T20" fmla="*/ 11779 w 17766"/>
                <a:gd name="T21" fmla="*/ 2787 h 3831"/>
                <a:gd name="T22" fmla="*/ 11733 w 17766"/>
                <a:gd name="T23" fmla="*/ 2587 h 3831"/>
                <a:gd name="T24" fmla="*/ 11620 w 17766"/>
                <a:gd name="T25" fmla="*/ 2661 h 3831"/>
                <a:gd name="T26" fmla="*/ 11671 w 17766"/>
                <a:gd name="T27" fmla="*/ 3499 h 3831"/>
                <a:gd name="T28" fmla="*/ 11366 w 17766"/>
                <a:gd name="T29" fmla="*/ 2787 h 3831"/>
                <a:gd name="T30" fmla="*/ 11322 w 17766"/>
                <a:gd name="T31" fmla="*/ 2584 h 3831"/>
                <a:gd name="T32" fmla="*/ 11213 w 17766"/>
                <a:gd name="T33" fmla="*/ 2661 h 3831"/>
                <a:gd name="T34" fmla="*/ 11256 w 17766"/>
                <a:gd name="T35" fmla="*/ 3499 h 3831"/>
                <a:gd name="T36" fmla="*/ 10789 w 17766"/>
                <a:gd name="T37" fmla="*/ 2072 h 3831"/>
                <a:gd name="T38" fmla="*/ 10354 w 17766"/>
                <a:gd name="T39" fmla="*/ 2072 h 3831"/>
                <a:gd name="T40" fmla="*/ 9178 w 17766"/>
                <a:gd name="T41" fmla="*/ 675 h 3831"/>
                <a:gd name="T42" fmla="*/ 8856 w 17766"/>
                <a:gd name="T43" fmla="*/ 2085 h 3831"/>
                <a:gd name="T44" fmla="*/ 8756 w 17766"/>
                <a:gd name="T45" fmla="*/ 531 h 3831"/>
                <a:gd name="T46" fmla="*/ 8344 w 17766"/>
                <a:gd name="T47" fmla="*/ 1077 h 3831"/>
                <a:gd name="T48" fmla="*/ 7722 w 17766"/>
                <a:gd name="T49" fmla="*/ 2273 h 3831"/>
                <a:gd name="T50" fmla="*/ 7620 w 17766"/>
                <a:gd name="T51" fmla="*/ 560 h 3831"/>
                <a:gd name="T52" fmla="*/ 7218 w 17766"/>
                <a:gd name="T53" fmla="*/ 1077 h 3831"/>
                <a:gd name="T54" fmla="*/ 6997 w 17766"/>
                <a:gd name="T55" fmla="*/ 2725 h 3831"/>
                <a:gd name="T56" fmla="*/ 6715 w 17766"/>
                <a:gd name="T57" fmla="*/ 2193 h 3831"/>
                <a:gd name="T58" fmla="*/ 6503 w 17766"/>
                <a:gd name="T59" fmla="*/ 2297 h 3831"/>
                <a:gd name="T60" fmla="*/ 6376 w 17766"/>
                <a:gd name="T61" fmla="*/ 2101 h 3831"/>
                <a:gd name="T62" fmla="*/ 6165 w 17766"/>
                <a:gd name="T63" fmla="*/ 2101 h 3831"/>
                <a:gd name="T64" fmla="*/ 5898 w 17766"/>
                <a:gd name="T65" fmla="*/ 2192 h 3831"/>
                <a:gd name="T66" fmla="*/ 5816 w 17766"/>
                <a:gd name="T67" fmla="*/ 2190 h 3831"/>
                <a:gd name="T68" fmla="*/ 5720 w 17766"/>
                <a:gd name="T69" fmla="*/ 2549 h 3831"/>
                <a:gd name="T70" fmla="*/ 5380 w 17766"/>
                <a:gd name="T71" fmla="*/ 1389 h 3831"/>
                <a:gd name="T72" fmla="*/ 5046 w 17766"/>
                <a:gd name="T73" fmla="*/ 1630 h 3831"/>
                <a:gd name="T74" fmla="*/ 4272 w 17766"/>
                <a:gd name="T75" fmla="*/ 2273 h 3831"/>
                <a:gd name="T76" fmla="*/ 3438 w 17766"/>
                <a:gd name="T77" fmla="*/ 2725 h 3831"/>
                <a:gd name="T78" fmla="*/ 3347 w 17766"/>
                <a:gd name="T79" fmla="*/ 3082 h 3831"/>
                <a:gd name="T80" fmla="*/ 2895 w 17766"/>
                <a:gd name="T81" fmla="*/ 2725 h 3831"/>
                <a:gd name="T82" fmla="*/ 2895 w 17766"/>
                <a:gd name="T83" fmla="*/ 1832 h 3831"/>
                <a:gd name="T84" fmla="*/ 2382 w 17766"/>
                <a:gd name="T85" fmla="*/ 1630 h 3831"/>
                <a:gd name="T86" fmla="*/ 2382 w 17766"/>
                <a:gd name="T87" fmla="*/ 2273 h 3831"/>
                <a:gd name="T88" fmla="*/ 1936 w 17766"/>
                <a:gd name="T89" fmla="*/ 2273 h 3831"/>
                <a:gd name="T90" fmla="*/ 661 w 17766"/>
                <a:gd name="T91" fmla="*/ 3073 h 3831"/>
                <a:gd name="T92" fmla="*/ 523 w 17766"/>
                <a:gd name="T93" fmla="*/ 3174 h 3831"/>
                <a:gd name="T94" fmla="*/ 0 w 17766"/>
                <a:gd name="T95" fmla="*/ 3831 h 3831"/>
                <a:gd name="T96" fmla="*/ 17305 w 17766"/>
                <a:gd name="T97" fmla="*/ 3626 h 3831"/>
                <a:gd name="T98" fmla="*/ 5954 w 17766"/>
                <a:gd name="T99" fmla="*/ 2990 h 3831"/>
                <a:gd name="T100" fmla="*/ 6477 w 17766"/>
                <a:gd name="T101" fmla="*/ 3499 h 3831"/>
                <a:gd name="T102" fmla="*/ 12932 w 17766"/>
                <a:gd name="T103" fmla="*/ 1554 h 3831"/>
                <a:gd name="T104" fmla="*/ 14731 w 17766"/>
                <a:gd name="T105" fmla="*/ 1722 h 3831"/>
                <a:gd name="T106" fmla="*/ 14946 w 17766"/>
                <a:gd name="T107" fmla="*/ 1507 h 3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766" h="3831">
                  <a:moveTo>
                    <a:pt x="17305" y="3626"/>
                  </a:moveTo>
                  <a:cubicBezTo>
                    <a:pt x="17305" y="2902"/>
                    <a:pt x="17305" y="2902"/>
                    <a:pt x="17305" y="2902"/>
                  </a:cubicBezTo>
                  <a:cubicBezTo>
                    <a:pt x="17047" y="2902"/>
                    <a:pt x="17047" y="2902"/>
                    <a:pt x="17047" y="2902"/>
                  </a:cubicBezTo>
                  <a:cubicBezTo>
                    <a:pt x="17047" y="3029"/>
                    <a:pt x="17047" y="3029"/>
                    <a:pt x="17047" y="3029"/>
                  </a:cubicBezTo>
                  <a:cubicBezTo>
                    <a:pt x="16779" y="3029"/>
                    <a:pt x="16779" y="3029"/>
                    <a:pt x="16779" y="3029"/>
                  </a:cubicBezTo>
                  <a:cubicBezTo>
                    <a:pt x="16779" y="2752"/>
                    <a:pt x="16779" y="2752"/>
                    <a:pt x="16779" y="2752"/>
                  </a:cubicBezTo>
                  <a:cubicBezTo>
                    <a:pt x="16290" y="2752"/>
                    <a:pt x="16290" y="2752"/>
                    <a:pt x="16290" y="2752"/>
                  </a:cubicBezTo>
                  <a:cubicBezTo>
                    <a:pt x="16290" y="3227"/>
                    <a:pt x="16290" y="3227"/>
                    <a:pt x="16290" y="3227"/>
                  </a:cubicBezTo>
                  <a:cubicBezTo>
                    <a:pt x="15890" y="3227"/>
                    <a:pt x="15890" y="3227"/>
                    <a:pt x="15890" y="3227"/>
                  </a:cubicBezTo>
                  <a:cubicBezTo>
                    <a:pt x="15890" y="3499"/>
                    <a:pt x="15890" y="3499"/>
                    <a:pt x="15890" y="3499"/>
                  </a:cubicBezTo>
                  <a:cubicBezTo>
                    <a:pt x="15733" y="3499"/>
                    <a:pt x="15733" y="3499"/>
                    <a:pt x="15733" y="3499"/>
                  </a:cubicBezTo>
                  <a:cubicBezTo>
                    <a:pt x="15733" y="2939"/>
                    <a:pt x="15733" y="2939"/>
                    <a:pt x="15733" y="2939"/>
                  </a:cubicBezTo>
                  <a:cubicBezTo>
                    <a:pt x="15572" y="2787"/>
                    <a:pt x="15572" y="2787"/>
                    <a:pt x="15572" y="2787"/>
                  </a:cubicBezTo>
                  <a:cubicBezTo>
                    <a:pt x="15165" y="2963"/>
                    <a:pt x="15165" y="2963"/>
                    <a:pt x="15165" y="2963"/>
                  </a:cubicBezTo>
                  <a:cubicBezTo>
                    <a:pt x="15029" y="2963"/>
                    <a:pt x="15029" y="2963"/>
                    <a:pt x="15029" y="2963"/>
                  </a:cubicBezTo>
                  <a:cubicBezTo>
                    <a:pt x="15029" y="1229"/>
                    <a:pt x="15029" y="1229"/>
                    <a:pt x="15029" y="1229"/>
                  </a:cubicBezTo>
                  <a:cubicBezTo>
                    <a:pt x="14944" y="857"/>
                    <a:pt x="14731" y="0"/>
                    <a:pt x="14731" y="0"/>
                  </a:cubicBezTo>
                  <a:cubicBezTo>
                    <a:pt x="14436" y="1243"/>
                    <a:pt x="14436" y="1243"/>
                    <a:pt x="14436" y="1243"/>
                  </a:cubicBezTo>
                  <a:cubicBezTo>
                    <a:pt x="14436" y="2273"/>
                    <a:pt x="14436" y="2273"/>
                    <a:pt x="14436" y="2273"/>
                  </a:cubicBezTo>
                  <a:cubicBezTo>
                    <a:pt x="13240" y="2273"/>
                    <a:pt x="13240" y="2273"/>
                    <a:pt x="13240" y="2273"/>
                  </a:cubicBezTo>
                  <a:cubicBezTo>
                    <a:pt x="13194" y="2613"/>
                    <a:pt x="13194" y="2613"/>
                    <a:pt x="13194" y="2613"/>
                  </a:cubicBezTo>
                  <a:cubicBezTo>
                    <a:pt x="13119" y="2613"/>
                    <a:pt x="13119" y="2613"/>
                    <a:pt x="13119" y="2613"/>
                  </a:cubicBezTo>
                  <a:cubicBezTo>
                    <a:pt x="13119" y="1363"/>
                    <a:pt x="13119" y="1363"/>
                    <a:pt x="13119" y="1363"/>
                  </a:cubicBezTo>
                  <a:cubicBezTo>
                    <a:pt x="13090" y="1200"/>
                    <a:pt x="12928" y="243"/>
                    <a:pt x="12928" y="243"/>
                  </a:cubicBezTo>
                  <a:cubicBezTo>
                    <a:pt x="12739" y="1367"/>
                    <a:pt x="12739" y="1367"/>
                    <a:pt x="12739" y="1367"/>
                  </a:cubicBezTo>
                  <a:cubicBezTo>
                    <a:pt x="12739" y="2273"/>
                    <a:pt x="12739" y="2273"/>
                    <a:pt x="12739" y="2273"/>
                  </a:cubicBezTo>
                  <a:cubicBezTo>
                    <a:pt x="12426" y="2273"/>
                    <a:pt x="12426" y="2273"/>
                    <a:pt x="12426" y="2273"/>
                  </a:cubicBezTo>
                  <a:cubicBezTo>
                    <a:pt x="12315" y="2156"/>
                    <a:pt x="12315" y="2156"/>
                    <a:pt x="12315" y="2156"/>
                  </a:cubicBezTo>
                  <a:cubicBezTo>
                    <a:pt x="11923" y="2575"/>
                    <a:pt x="11923" y="2575"/>
                    <a:pt x="11923" y="2575"/>
                  </a:cubicBezTo>
                  <a:cubicBezTo>
                    <a:pt x="11923" y="3499"/>
                    <a:pt x="11923" y="3499"/>
                    <a:pt x="11923" y="3499"/>
                  </a:cubicBezTo>
                  <a:cubicBezTo>
                    <a:pt x="11724" y="3499"/>
                    <a:pt x="11724" y="3499"/>
                    <a:pt x="11724" y="3499"/>
                  </a:cubicBezTo>
                  <a:cubicBezTo>
                    <a:pt x="11724" y="2787"/>
                    <a:pt x="11724" y="2787"/>
                    <a:pt x="11724" y="2787"/>
                  </a:cubicBezTo>
                  <a:cubicBezTo>
                    <a:pt x="11779" y="2787"/>
                    <a:pt x="11779" y="2787"/>
                    <a:pt x="11779" y="2787"/>
                  </a:cubicBezTo>
                  <a:cubicBezTo>
                    <a:pt x="11779" y="2661"/>
                    <a:pt x="11779" y="2661"/>
                    <a:pt x="11779" y="2661"/>
                  </a:cubicBezTo>
                  <a:cubicBezTo>
                    <a:pt x="11733" y="2661"/>
                    <a:pt x="11733" y="2661"/>
                    <a:pt x="11733" y="2661"/>
                  </a:cubicBezTo>
                  <a:cubicBezTo>
                    <a:pt x="11733" y="2587"/>
                    <a:pt x="11733" y="2587"/>
                    <a:pt x="11733" y="2587"/>
                  </a:cubicBezTo>
                  <a:cubicBezTo>
                    <a:pt x="11671" y="2587"/>
                    <a:pt x="11671" y="2587"/>
                    <a:pt x="11671" y="2587"/>
                  </a:cubicBezTo>
                  <a:cubicBezTo>
                    <a:pt x="11671" y="2661"/>
                    <a:pt x="11671" y="2661"/>
                    <a:pt x="11671" y="2661"/>
                  </a:cubicBezTo>
                  <a:cubicBezTo>
                    <a:pt x="11620" y="2661"/>
                    <a:pt x="11620" y="2661"/>
                    <a:pt x="11620" y="2661"/>
                  </a:cubicBezTo>
                  <a:cubicBezTo>
                    <a:pt x="11620" y="2787"/>
                    <a:pt x="11620" y="2787"/>
                    <a:pt x="11620" y="2787"/>
                  </a:cubicBezTo>
                  <a:cubicBezTo>
                    <a:pt x="11671" y="2787"/>
                    <a:pt x="11671" y="2787"/>
                    <a:pt x="11671" y="2787"/>
                  </a:cubicBezTo>
                  <a:cubicBezTo>
                    <a:pt x="11671" y="3499"/>
                    <a:pt x="11671" y="3499"/>
                    <a:pt x="11671" y="3499"/>
                  </a:cubicBezTo>
                  <a:cubicBezTo>
                    <a:pt x="11319" y="3499"/>
                    <a:pt x="11319" y="3499"/>
                    <a:pt x="11319" y="3499"/>
                  </a:cubicBezTo>
                  <a:cubicBezTo>
                    <a:pt x="11319" y="2787"/>
                    <a:pt x="11319" y="2787"/>
                    <a:pt x="11319" y="2787"/>
                  </a:cubicBezTo>
                  <a:cubicBezTo>
                    <a:pt x="11366" y="2787"/>
                    <a:pt x="11366" y="2787"/>
                    <a:pt x="11366" y="2787"/>
                  </a:cubicBezTo>
                  <a:cubicBezTo>
                    <a:pt x="11366" y="2661"/>
                    <a:pt x="11366" y="2661"/>
                    <a:pt x="11366" y="2661"/>
                  </a:cubicBezTo>
                  <a:cubicBezTo>
                    <a:pt x="11322" y="2661"/>
                    <a:pt x="11322" y="2661"/>
                    <a:pt x="11322" y="2661"/>
                  </a:cubicBezTo>
                  <a:cubicBezTo>
                    <a:pt x="11322" y="2584"/>
                    <a:pt x="11322" y="2584"/>
                    <a:pt x="11322" y="2584"/>
                  </a:cubicBezTo>
                  <a:cubicBezTo>
                    <a:pt x="11269" y="2584"/>
                    <a:pt x="11269" y="2584"/>
                    <a:pt x="11269" y="2584"/>
                  </a:cubicBezTo>
                  <a:cubicBezTo>
                    <a:pt x="11269" y="2661"/>
                    <a:pt x="11269" y="2661"/>
                    <a:pt x="11269" y="2661"/>
                  </a:cubicBezTo>
                  <a:cubicBezTo>
                    <a:pt x="11213" y="2661"/>
                    <a:pt x="11213" y="2661"/>
                    <a:pt x="11213" y="2661"/>
                  </a:cubicBezTo>
                  <a:cubicBezTo>
                    <a:pt x="11213" y="2789"/>
                    <a:pt x="11213" y="2789"/>
                    <a:pt x="11213" y="2789"/>
                  </a:cubicBezTo>
                  <a:cubicBezTo>
                    <a:pt x="11256" y="2789"/>
                    <a:pt x="11256" y="2789"/>
                    <a:pt x="11256" y="2789"/>
                  </a:cubicBezTo>
                  <a:cubicBezTo>
                    <a:pt x="11256" y="3499"/>
                    <a:pt x="11256" y="3499"/>
                    <a:pt x="11256" y="3499"/>
                  </a:cubicBezTo>
                  <a:cubicBezTo>
                    <a:pt x="11088" y="3499"/>
                    <a:pt x="11088" y="3499"/>
                    <a:pt x="11088" y="3499"/>
                  </a:cubicBezTo>
                  <a:cubicBezTo>
                    <a:pt x="11088" y="2480"/>
                    <a:pt x="11088" y="2480"/>
                    <a:pt x="11088" y="2480"/>
                  </a:cubicBezTo>
                  <a:cubicBezTo>
                    <a:pt x="10789" y="2072"/>
                    <a:pt x="10789" y="2072"/>
                    <a:pt x="10789" y="2072"/>
                  </a:cubicBezTo>
                  <a:cubicBezTo>
                    <a:pt x="10426" y="2072"/>
                    <a:pt x="10426" y="2072"/>
                    <a:pt x="10426" y="2072"/>
                  </a:cubicBezTo>
                  <a:cubicBezTo>
                    <a:pt x="10384" y="1429"/>
                    <a:pt x="10384" y="1429"/>
                    <a:pt x="10384" y="1429"/>
                  </a:cubicBezTo>
                  <a:cubicBezTo>
                    <a:pt x="10354" y="2072"/>
                    <a:pt x="10354" y="2072"/>
                    <a:pt x="10354" y="2072"/>
                  </a:cubicBezTo>
                  <a:cubicBezTo>
                    <a:pt x="9250" y="2072"/>
                    <a:pt x="9250" y="2072"/>
                    <a:pt x="9250" y="2072"/>
                  </a:cubicBezTo>
                  <a:cubicBezTo>
                    <a:pt x="9250" y="1832"/>
                    <a:pt x="9250" y="1832"/>
                    <a:pt x="9250" y="1832"/>
                  </a:cubicBezTo>
                  <a:cubicBezTo>
                    <a:pt x="9178" y="675"/>
                    <a:pt x="9178" y="675"/>
                    <a:pt x="9178" y="675"/>
                  </a:cubicBezTo>
                  <a:cubicBezTo>
                    <a:pt x="9104" y="1832"/>
                    <a:pt x="9104" y="1832"/>
                    <a:pt x="9104" y="1832"/>
                  </a:cubicBezTo>
                  <a:cubicBezTo>
                    <a:pt x="9104" y="2085"/>
                    <a:pt x="9104" y="2085"/>
                    <a:pt x="9104" y="2085"/>
                  </a:cubicBezTo>
                  <a:cubicBezTo>
                    <a:pt x="8856" y="2085"/>
                    <a:pt x="8856" y="2085"/>
                    <a:pt x="8856" y="2085"/>
                  </a:cubicBezTo>
                  <a:cubicBezTo>
                    <a:pt x="8856" y="1077"/>
                    <a:pt x="8856" y="1077"/>
                    <a:pt x="8856" y="1077"/>
                  </a:cubicBezTo>
                  <a:cubicBezTo>
                    <a:pt x="8756" y="1077"/>
                    <a:pt x="8756" y="1077"/>
                    <a:pt x="8756" y="1077"/>
                  </a:cubicBezTo>
                  <a:cubicBezTo>
                    <a:pt x="8756" y="531"/>
                    <a:pt x="8756" y="531"/>
                    <a:pt x="8756" y="531"/>
                  </a:cubicBezTo>
                  <a:cubicBezTo>
                    <a:pt x="8756" y="531"/>
                    <a:pt x="8756" y="123"/>
                    <a:pt x="8560" y="123"/>
                  </a:cubicBezTo>
                  <a:cubicBezTo>
                    <a:pt x="8364" y="123"/>
                    <a:pt x="8344" y="541"/>
                    <a:pt x="8344" y="541"/>
                  </a:cubicBezTo>
                  <a:cubicBezTo>
                    <a:pt x="8344" y="1077"/>
                    <a:pt x="8344" y="1077"/>
                    <a:pt x="8344" y="1077"/>
                  </a:cubicBezTo>
                  <a:cubicBezTo>
                    <a:pt x="8243" y="1077"/>
                    <a:pt x="8243" y="1077"/>
                    <a:pt x="8243" y="1077"/>
                  </a:cubicBezTo>
                  <a:cubicBezTo>
                    <a:pt x="8243" y="2273"/>
                    <a:pt x="8243" y="2273"/>
                    <a:pt x="8243" y="2273"/>
                  </a:cubicBezTo>
                  <a:cubicBezTo>
                    <a:pt x="7722" y="2273"/>
                    <a:pt x="7722" y="2273"/>
                    <a:pt x="7722" y="2273"/>
                  </a:cubicBezTo>
                  <a:cubicBezTo>
                    <a:pt x="7722" y="1077"/>
                    <a:pt x="7722" y="1077"/>
                    <a:pt x="7722" y="1077"/>
                  </a:cubicBezTo>
                  <a:cubicBezTo>
                    <a:pt x="7620" y="1077"/>
                    <a:pt x="7620" y="1077"/>
                    <a:pt x="7620" y="1077"/>
                  </a:cubicBezTo>
                  <a:cubicBezTo>
                    <a:pt x="7620" y="560"/>
                    <a:pt x="7620" y="560"/>
                    <a:pt x="7620" y="560"/>
                  </a:cubicBezTo>
                  <a:cubicBezTo>
                    <a:pt x="7620" y="560"/>
                    <a:pt x="7620" y="123"/>
                    <a:pt x="7419" y="123"/>
                  </a:cubicBezTo>
                  <a:cubicBezTo>
                    <a:pt x="7218" y="123"/>
                    <a:pt x="7218" y="557"/>
                    <a:pt x="7218" y="557"/>
                  </a:cubicBezTo>
                  <a:cubicBezTo>
                    <a:pt x="7218" y="1077"/>
                    <a:pt x="7218" y="1077"/>
                    <a:pt x="7218" y="1077"/>
                  </a:cubicBezTo>
                  <a:cubicBezTo>
                    <a:pt x="7107" y="1077"/>
                    <a:pt x="7107" y="1077"/>
                    <a:pt x="7107" y="1077"/>
                  </a:cubicBezTo>
                  <a:cubicBezTo>
                    <a:pt x="7107" y="2725"/>
                    <a:pt x="7107" y="2725"/>
                    <a:pt x="7107" y="2725"/>
                  </a:cubicBezTo>
                  <a:cubicBezTo>
                    <a:pt x="6997" y="2725"/>
                    <a:pt x="6997" y="2725"/>
                    <a:pt x="6997" y="2725"/>
                  </a:cubicBezTo>
                  <a:cubicBezTo>
                    <a:pt x="6997" y="2533"/>
                    <a:pt x="6997" y="2533"/>
                    <a:pt x="6997" y="2533"/>
                  </a:cubicBezTo>
                  <a:cubicBezTo>
                    <a:pt x="6715" y="2533"/>
                    <a:pt x="6715" y="2533"/>
                    <a:pt x="6715" y="2533"/>
                  </a:cubicBezTo>
                  <a:cubicBezTo>
                    <a:pt x="6715" y="2193"/>
                    <a:pt x="6715" y="2193"/>
                    <a:pt x="6715" y="2193"/>
                  </a:cubicBezTo>
                  <a:cubicBezTo>
                    <a:pt x="6592" y="2193"/>
                    <a:pt x="6592" y="2193"/>
                    <a:pt x="6592" y="2193"/>
                  </a:cubicBezTo>
                  <a:cubicBezTo>
                    <a:pt x="6592" y="2297"/>
                    <a:pt x="6592" y="2297"/>
                    <a:pt x="6592" y="2297"/>
                  </a:cubicBezTo>
                  <a:cubicBezTo>
                    <a:pt x="6503" y="2297"/>
                    <a:pt x="6503" y="2297"/>
                    <a:pt x="6503" y="2297"/>
                  </a:cubicBezTo>
                  <a:cubicBezTo>
                    <a:pt x="6503" y="2196"/>
                    <a:pt x="6503" y="2196"/>
                    <a:pt x="6503" y="2196"/>
                  </a:cubicBezTo>
                  <a:cubicBezTo>
                    <a:pt x="6376" y="2196"/>
                    <a:pt x="6376" y="2196"/>
                    <a:pt x="6376" y="2196"/>
                  </a:cubicBezTo>
                  <a:cubicBezTo>
                    <a:pt x="6376" y="2101"/>
                    <a:pt x="6376" y="2101"/>
                    <a:pt x="6376" y="2101"/>
                  </a:cubicBezTo>
                  <a:cubicBezTo>
                    <a:pt x="6270" y="2101"/>
                    <a:pt x="6270" y="2101"/>
                    <a:pt x="6270" y="2101"/>
                  </a:cubicBezTo>
                  <a:cubicBezTo>
                    <a:pt x="6213" y="1983"/>
                    <a:pt x="6213" y="1983"/>
                    <a:pt x="6213" y="1983"/>
                  </a:cubicBezTo>
                  <a:cubicBezTo>
                    <a:pt x="6165" y="2101"/>
                    <a:pt x="6165" y="2101"/>
                    <a:pt x="6165" y="2101"/>
                  </a:cubicBezTo>
                  <a:cubicBezTo>
                    <a:pt x="6063" y="2101"/>
                    <a:pt x="6063" y="2101"/>
                    <a:pt x="6063" y="2101"/>
                  </a:cubicBezTo>
                  <a:cubicBezTo>
                    <a:pt x="6063" y="2192"/>
                    <a:pt x="6063" y="2192"/>
                    <a:pt x="6063" y="2192"/>
                  </a:cubicBezTo>
                  <a:cubicBezTo>
                    <a:pt x="5898" y="2192"/>
                    <a:pt x="5898" y="2192"/>
                    <a:pt x="5898" y="2192"/>
                  </a:cubicBezTo>
                  <a:cubicBezTo>
                    <a:pt x="5898" y="2293"/>
                    <a:pt x="5898" y="2293"/>
                    <a:pt x="5898" y="2293"/>
                  </a:cubicBezTo>
                  <a:cubicBezTo>
                    <a:pt x="5816" y="2293"/>
                    <a:pt x="5816" y="2293"/>
                    <a:pt x="5816" y="2293"/>
                  </a:cubicBezTo>
                  <a:cubicBezTo>
                    <a:pt x="5816" y="2190"/>
                    <a:pt x="5816" y="2190"/>
                    <a:pt x="5816" y="2190"/>
                  </a:cubicBezTo>
                  <a:cubicBezTo>
                    <a:pt x="5720" y="2190"/>
                    <a:pt x="5720" y="2190"/>
                    <a:pt x="5720" y="2190"/>
                  </a:cubicBezTo>
                  <a:cubicBezTo>
                    <a:pt x="5720" y="2273"/>
                    <a:pt x="5720" y="2273"/>
                    <a:pt x="5720" y="2273"/>
                  </a:cubicBezTo>
                  <a:cubicBezTo>
                    <a:pt x="5720" y="2549"/>
                    <a:pt x="5720" y="2549"/>
                    <a:pt x="5720" y="2549"/>
                  </a:cubicBezTo>
                  <a:cubicBezTo>
                    <a:pt x="5599" y="2549"/>
                    <a:pt x="5599" y="2549"/>
                    <a:pt x="5599" y="2549"/>
                  </a:cubicBezTo>
                  <a:cubicBezTo>
                    <a:pt x="5599" y="1630"/>
                    <a:pt x="5599" y="1630"/>
                    <a:pt x="5599" y="1630"/>
                  </a:cubicBezTo>
                  <a:cubicBezTo>
                    <a:pt x="5380" y="1389"/>
                    <a:pt x="5380" y="1389"/>
                    <a:pt x="5380" y="1389"/>
                  </a:cubicBezTo>
                  <a:cubicBezTo>
                    <a:pt x="5333" y="850"/>
                    <a:pt x="5333" y="850"/>
                    <a:pt x="5333" y="850"/>
                  </a:cubicBezTo>
                  <a:cubicBezTo>
                    <a:pt x="5296" y="1383"/>
                    <a:pt x="5296" y="1383"/>
                    <a:pt x="5296" y="1383"/>
                  </a:cubicBezTo>
                  <a:cubicBezTo>
                    <a:pt x="5046" y="1630"/>
                    <a:pt x="5046" y="1630"/>
                    <a:pt x="5046" y="1630"/>
                  </a:cubicBezTo>
                  <a:cubicBezTo>
                    <a:pt x="5046" y="2273"/>
                    <a:pt x="5046" y="2273"/>
                    <a:pt x="5046" y="2273"/>
                  </a:cubicBezTo>
                  <a:cubicBezTo>
                    <a:pt x="5046" y="2273"/>
                    <a:pt x="5046" y="2725"/>
                    <a:pt x="4659" y="2725"/>
                  </a:cubicBezTo>
                  <a:cubicBezTo>
                    <a:pt x="4272" y="2725"/>
                    <a:pt x="4272" y="2273"/>
                    <a:pt x="4272" y="2273"/>
                  </a:cubicBezTo>
                  <a:cubicBezTo>
                    <a:pt x="3589" y="2273"/>
                    <a:pt x="3589" y="2273"/>
                    <a:pt x="3589" y="2273"/>
                  </a:cubicBezTo>
                  <a:cubicBezTo>
                    <a:pt x="3589" y="2725"/>
                    <a:pt x="3589" y="2725"/>
                    <a:pt x="3589" y="2725"/>
                  </a:cubicBezTo>
                  <a:cubicBezTo>
                    <a:pt x="3438" y="2725"/>
                    <a:pt x="3438" y="2725"/>
                    <a:pt x="3438" y="2725"/>
                  </a:cubicBezTo>
                  <a:cubicBezTo>
                    <a:pt x="3438" y="3499"/>
                    <a:pt x="3438" y="3499"/>
                    <a:pt x="3438" y="3499"/>
                  </a:cubicBezTo>
                  <a:cubicBezTo>
                    <a:pt x="3347" y="3499"/>
                    <a:pt x="3347" y="3499"/>
                    <a:pt x="3347" y="3499"/>
                  </a:cubicBezTo>
                  <a:cubicBezTo>
                    <a:pt x="3347" y="3082"/>
                    <a:pt x="3347" y="3082"/>
                    <a:pt x="3347" y="3082"/>
                  </a:cubicBezTo>
                  <a:cubicBezTo>
                    <a:pt x="3156" y="3082"/>
                    <a:pt x="3156" y="3082"/>
                    <a:pt x="3156" y="3082"/>
                  </a:cubicBezTo>
                  <a:cubicBezTo>
                    <a:pt x="3156" y="2894"/>
                    <a:pt x="3156" y="2894"/>
                    <a:pt x="3156" y="2894"/>
                  </a:cubicBezTo>
                  <a:cubicBezTo>
                    <a:pt x="2895" y="2725"/>
                    <a:pt x="2895" y="2725"/>
                    <a:pt x="2895" y="2725"/>
                  </a:cubicBezTo>
                  <a:cubicBezTo>
                    <a:pt x="2895" y="2273"/>
                    <a:pt x="2895" y="2273"/>
                    <a:pt x="2895" y="2273"/>
                  </a:cubicBezTo>
                  <a:cubicBezTo>
                    <a:pt x="2895" y="2273"/>
                    <a:pt x="2960" y="2229"/>
                    <a:pt x="2960" y="2072"/>
                  </a:cubicBezTo>
                  <a:cubicBezTo>
                    <a:pt x="2960" y="1915"/>
                    <a:pt x="2895" y="1832"/>
                    <a:pt x="2895" y="1832"/>
                  </a:cubicBezTo>
                  <a:cubicBezTo>
                    <a:pt x="2895" y="1630"/>
                    <a:pt x="2895" y="1630"/>
                    <a:pt x="2895" y="1630"/>
                  </a:cubicBezTo>
                  <a:cubicBezTo>
                    <a:pt x="2895" y="1630"/>
                    <a:pt x="2828" y="1481"/>
                    <a:pt x="2634" y="1481"/>
                  </a:cubicBezTo>
                  <a:cubicBezTo>
                    <a:pt x="2440" y="1481"/>
                    <a:pt x="2382" y="1630"/>
                    <a:pt x="2382" y="1630"/>
                  </a:cubicBezTo>
                  <a:cubicBezTo>
                    <a:pt x="2382" y="1832"/>
                    <a:pt x="2382" y="1832"/>
                    <a:pt x="2382" y="1832"/>
                  </a:cubicBezTo>
                  <a:cubicBezTo>
                    <a:pt x="2382" y="1832"/>
                    <a:pt x="2320" y="1931"/>
                    <a:pt x="2320" y="2072"/>
                  </a:cubicBezTo>
                  <a:cubicBezTo>
                    <a:pt x="2320" y="2213"/>
                    <a:pt x="2382" y="2273"/>
                    <a:pt x="2382" y="2273"/>
                  </a:cubicBezTo>
                  <a:cubicBezTo>
                    <a:pt x="2382" y="2725"/>
                    <a:pt x="2382" y="2725"/>
                    <a:pt x="2382" y="2725"/>
                  </a:cubicBezTo>
                  <a:cubicBezTo>
                    <a:pt x="2219" y="2725"/>
                    <a:pt x="2219" y="2725"/>
                    <a:pt x="2219" y="2725"/>
                  </a:cubicBezTo>
                  <a:cubicBezTo>
                    <a:pt x="2219" y="2725"/>
                    <a:pt x="2194" y="2273"/>
                    <a:pt x="1936" y="2273"/>
                  </a:cubicBezTo>
                  <a:cubicBezTo>
                    <a:pt x="1677" y="2273"/>
                    <a:pt x="1635" y="2725"/>
                    <a:pt x="1635" y="2725"/>
                  </a:cubicBezTo>
                  <a:cubicBezTo>
                    <a:pt x="955" y="2725"/>
                    <a:pt x="955" y="2725"/>
                    <a:pt x="955" y="2725"/>
                  </a:cubicBezTo>
                  <a:cubicBezTo>
                    <a:pt x="661" y="3073"/>
                    <a:pt x="661" y="3073"/>
                    <a:pt x="661" y="3073"/>
                  </a:cubicBezTo>
                  <a:cubicBezTo>
                    <a:pt x="618" y="2273"/>
                    <a:pt x="618" y="2273"/>
                    <a:pt x="618" y="2273"/>
                  </a:cubicBezTo>
                  <a:cubicBezTo>
                    <a:pt x="578" y="3073"/>
                    <a:pt x="578" y="3073"/>
                    <a:pt x="578" y="3073"/>
                  </a:cubicBezTo>
                  <a:cubicBezTo>
                    <a:pt x="523" y="3174"/>
                    <a:pt x="523" y="3174"/>
                    <a:pt x="523" y="3174"/>
                  </a:cubicBezTo>
                  <a:cubicBezTo>
                    <a:pt x="523" y="3499"/>
                    <a:pt x="523" y="3499"/>
                    <a:pt x="523" y="3499"/>
                  </a:cubicBezTo>
                  <a:cubicBezTo>
                    <a:pt x="0" y="3499"/>
                    <a:pt x="0" y="3499"/>
                    <a:pt x="0" y="3499"/>
                  </a:cubicBezTo>
                  <a:cubicBezTo>
                    <a:pt x="0" y="3831"/>
                    <a:pt x="0" y="3831"/>
                    <a:pt x="0" y="3831"/>
                  </a:cubicBezTo>
                  <a:cubicBezTo>
                    <a:pt x="17766" y="3831"/>
                    <a:pt x="17766" y="3831"/>
                    <a:pt x="17766" y="3831"/>
                  </a:cubicBezTo>
                  <a:cubicBezTo>
                    <a:pt x="17766" y="3626"/>
                    <a:pt x="17766" y="3626"/>
                    <a:pt x="17766" y="3626"/>
                  </a:cubicBezTo>
                  <a:lnTo>
                    <a:pt x="17305" y="3626"/>
                  </a:lnTo>
                  <a:close/>
                  <a:moveTo>
                    <a:pt x="6477" y="3499"/>
                  </a:moveTo>
                  <a:cubicBezTo>
                    <a:pt x="5954" y="3499"/>
                    <a:pt x="5954" y="3499"/>
                    <a:pt x="5954" y="3499"/>
                  </a:cubicBezTo>
                  <a:cubicBezTo>
                    <a:pt x="5954" y="2990"/>
                    <a:pt x="5954" y="2990"/>
                    <a:pt x="5954" y="2990"/>
                  </a:cubicBezTo>
                  <a:cubicBezTo>
                    <a:pt x="5954" y="2990"/>
                    <a:pt x="5958" y="2787"/>
                    <a:pt x="6213" y="2787"/>
                  </a:cubicBezTo>
                  <a:cubicBezTo>
                    <a:pt x="6467" y="2787"/>
                    <a:pt x="6477" y="2993"/>
                    <a:pt x="6477" y="2993"/>
                  </a:cubicBezTo>
                  <a:lnTo>
                    <a:pt x="6477" y="3499"/>
                  </a:lnTo>
                  <a:close/>
                  <a:moveTo>
                    <a:pt x="12932" y="1831"/>
                  </a:moveTo>
                  <a:cubicBezTo>
                    <a:pt x="12855" y="1831"/>
                    <a:pt x="12793" y="1769"/>
                    <a:pt x="12793" y="1693"/>
                  </a:cubicBezTo>
                  <a:cubicBezTo>
                    <a:pt x="12793" y="1616"/>
                    <a:pt x="12855" y="1554"/>
                    <a:pt x="12932" y="1554"/>
                  </a:cubicBezTo>
                  <a:cubicBezTo>
                    <a:pt x="13008" y="1554"/>
                    <a:pt x="13070" y="1616"/>
                    <a:pt x="13070" y="1693"/>
                  </a:cubicBezTo>
                  <a:cubicBezTo>
                    <a:pt x="13070" y="1769"/>
                    <a:pt x="13008" y="1831"/>
                    <a:pt x="12932" y="1831"/>
                  </a:cubicBezTo>
                  <a:close/>
                  <a:moveTo>
                    <a:pt x="14731" y="1722"/>
                  </a:moveTo>
                  <a:cubicBezTo>
                    <a:pt x="14613" y="1722"/>
                    <a:pt x="14517" y="1626"/>
                    <a:pt x="14517" y="1507"/>
                  </a:cubicBezTo>
                  <a:cubicBezTo>
                    <a:pt x="14517" y="1389"/>
                    <a:pt x="14613" y="1293"/>
                    <a:pt x="14731" y="1293"/>
                  </a:cubicBezTo>
                  <a:cubicBezTo>
                    <a:pt x="14850" y="1293"/>
                    <a:pt x="14946" y="1389"/>
                    <a:pt x="14946" y="1507"/>
                  </a:cubicBezTo>
                  <a:cubicBezTo>
                    <a:pt x="14946" y="1626"/>
                    <a:pt x="14850" y="1722"/>
                    <a:pt x="14731" y="17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>
                <a:solidFill>
                  <a:srgbClr val="001155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179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0" y="0"/>
            <a:ext cx="12192000" cy="6864640"/>
            <a:chOff x="0" y="0"/>
            <a:chExt cx="9144000" cy="6864640"/>
          </a:xfrm>
        </p:grpSpPr>
        <p:sp>
          <p:nvSpPr>
            <p:cNvPr id="6" name="Rechteck 5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81641" tIns="40820" rIns="81641" bIns="40820" numCol="1" rtlCol="0" anchor="ctr" anchorCtr="0" compatLnSpc="1">
              <a:prstTxWarp prst="textNoShape">
                <a:avLst/>
              </a:prstTxWarp>
            </a:bodyPr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pic>
        <p:nvPicPr>
          <p:cNvPr id="10" name="Picture 17" descr="Swisscom_Stacked_Primary_RGB_PP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7" descr="Swisscom_Stacked_Primary_RGB_PPT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7"/>
          <a:stretch/>
        </p:blipFill>
        <p:spPr bwMode="auto">
          <a:xfrm>
            <a:off x="11059584" y="6084095"/>
            <a:ext cx="1056216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Freeform 17"/>
          <p:cNvSpPr>
            <a:spLocks/>
          </p:cNvSpPr>
          <p:nvPr/>
        </p:nvSpPr>
        <p:spPr bwMode="auto">
          <a:xfrm>
            <a:off x="0" y="5002829"/>
            <a:ext cx="11059584" cy="1576387"/>
          </a:xfrm>
          <a:custGeom>
            <a:avLst/>
            <a:gdLst>
              <a:gd name="T0" fmla="*/ 1314 w 2880"/>
              <a:gd name="T1" fmla="*/ 512 h 545"/>
              <a:gd name="T2" fmla="*/ 1202 w 2880"/>
              <a:gd name="T3" fmla="*/ 512 h 545"/>
              <a:gd name="T4" fmla="*/ 1084 w 2880"/>
              <a:gd name="T5" fmla="*/ 512 h 545"/>
              <a:gd name="T6" fmla="*/ 972 w 2880"/>
              <a:gd name="T7" fmla="*/ 512 h 545"/>
              <a:gd name="T8" fmla="*/ 0 w 2880"/>
              <a:gd name="T9" fmla="*/ 173 h 545"/>
              <a:gd name="T10" fmla="*/ 159 w 2880"/>
              <a:gd name="T11" fmla="*/ 259 h 545"/>
              <a:gd name="T12" fmla="*/ 276 w 2880"/>
              <a:gd name="T13" fmla="*/ 346 h 545"/>
              <a:gd name="T14" fmla="*/ 399 w 2880"/>
              <a:gd name="T15" fmla="*/ 354 h 545"/>
              <a:gd name="T16" fmla="*/ 435 w 2880"/>
              <a:gd name="T17" fmla="*/ 258 h 545"/>
              <a:gd name="T18" fmla="*/ 457 w 2880"/>
              <a:gd name="T19" fmla="*/ 209 h 545"/>
              <a:gd name="T20" fmla="*/ 532 w 2880"/>
              <a:gd name="T21" fmla="*/ 204 h 545"/>
              <a:gd name="T22" fmla="*/ 583 w 2880"/>
              <a:gd name="T23" fmla="*/ 375 h 545"/>
              <a:gd name="T24" fmla="*/ 620 w 2880"/>
              <a:gd name="T25" fmla="*/ 298 h 545"/>
              <a:gd name="T26" fmla="*/ 656 w 2880"/>
              <a:gd name="T27" fmla="*/ 258 h 545"/>
              <a:gd name="T28" fmla="*/ 718 w 2880"/>
              <a:gd name="T29" fmla="*/ 272 h 545"/>
              <a:gd name="T30" fmla="*/ 718 w 2880"/>
              <a:gd name="T31" fmla="*/ 310 h 545"/>
              <a:gd name="T32" fmla="*/ 751 w 2880"/>
              <a:gd name="T33" fmla="*/ 388 h 545"/>
              <a:gd name="T34" fmla="*/ 917 w 2880"/>
              <a:gd name="T35" fmla="*/ 375 h 545"/>
              <a:gd name="T36" fmla="*/ 964 w 2880"/>
              <a:gd name="T37" fmla="*/ 395 h 545"/>
              <a:gd name="T38" fmla="*/ 1021 w 2880"/>
              <a:gd name="T39" fmla="*/ 419 h 545"/>
              <a:gd name="T40" fmla="*/ 1084 w 2880"/>
              <a:gd name="T41" fmla="*/ 412 h 545"/>
              <a:gd name="T42" fmla="*/ 1175 w 2880"/>
              <a:gd name="T43" fmla="*/ 415 h 545"/>
              <a:gd name="T44" fmla="*/ 1210 w 2880"/>
              <a:gd name="T45" fmla="*/ 497 h 545"/>
              <a:gd name="T46" fmla="*/ 1225 w 2880"/>
              <a:gd name="T47" fmla="*/ 443 h 545"/>
              <a:gd name="T48" fmla="*/ 1280 w 2880"/>
              <a:gd name="T49" fmla="*/ 406 h 545"/>
              <a:gd name="T50" fmla="*/ 1349 w 2880"/>
              <a:gd name="T51" fmla="*/ 406 h 545"/>
              <a:gd name="T52" fmla="*/ 1369 w 2880"/>
              <a:gd name="T53" fmla="*/ 396 h 545"/>
              <a:gd name="T54" fmla="*/ 1415 w 2880"/>
              <a:gd name="T55" fmla="*/ 355 h 545"/>
              <a:gd name="T56" fmla="*/ 1548 w 2880"/>
              <a:gd name="T57" fmla="*/ 307 h 545"/>
              <a:gd name="T58" fmla="*/ 1550 w 2880"/>
              <a:gd name="T59" fmla="*/ 271 h 545"/>
              <a:gd name="T60" fmla="*/ 1559 w 2880"/>
              <a:gd name="T61" fmla="*/ 272 h 545"/>
              <a:gd name="T62" fmla="*/ 1562 w 2880"/>
              <a:gd name="T63" fmla="*/ 306 h 545"/>
              <a:gd name="T64" fmla="*/ 1616 w 2880"/>
              <a:gd name="T65" fmla="*/ 375 h 545"/>
              <a:gd name="T66" fmla="*/ 1696 w 2880"/>
              <a:gd name="T67" fmla="*/ 321 h 545"/>
              <a:gd name="T68" fmla="*/ 1704 w 2880"/>
              <a:gd name="T69" fmla="*/ 166 h 545"/>
              <a:gd name="T70" fmla="*/ 1725 w 2880"/>
              <a:gd name="T71" fmla="*/ 104 h 545"/>
              <a:gd name="T72" fmla="*/ 1778 w 2880"/>
              <a:gd name="T73" fmla="*/ 83 h 545"/>
              <a:gd name="T74" fmla="*/ 1786 w 2880"/>
              <a:gd name="T75" fmla="*/ 164 h 545"/>
              <a:gd name="T76" fmla="*/ 1802 w 2880"/>
              <a:gd name="T77" fmla="*/ 257 h 545"/>
              <a:gd name="T78" fmla="*/ 1805 w 2880"/>
              <a:gd name="T79" fmla="*/ 104 h 545"/>
              <a:gd name="T80" fmla="*/ 1844 w 2880"/>
              <a:gd name="T81" fmla="*/ 58 h 545"/>
              <a:gd name="T82" fmla="*/ 1878 w 2880"/>
              <a:gd name="T83" fmla="*/ 104 h 545"/>
              <a:gd name="T84" fmla="*/ 1886 w 2880"/>
              <a:gd name="T85" fmla="*/ 258 h 545"/>
              <a:gd name="T86" fmla="*/ 2018 w 2880"/>
              <a:gd name="T87" fmla="*/ 241 h 545"/>
              <a:gd name="T88" fmla="*/ 2028 w 2880"/>
              <a:gd name="T89" fmla="*/ 192 h 545"/>
              <a:gd name="T90" fmla="*/ 2035 w 2880"/>
              <a:gd name="T91" fmla="*/ 150 h 545"/>
              <a:gd name="T92" fmla="*/ 2051 w 2880"/>
              <a:gd name="T93" fmla="*/ 192 h 545"/>
              <a:gd name="T94" fmla="*/ 2064 w 2880"/>
              <a:gd name="T95" fmla="*/ 241 h 545"/>
              <a:gd name="T96" fmla="*/ 2077 w 2880"/>
              <a:gd name="T97" fmla="*/ 258 h 545"/>
              <a:gd name="T98" fmla="*/ 2136 w 2880"/>
              <a:gd name="T99" fmla="*/ 333 h 545"/>
              <a:gd name="T100" fmla="*/ 2221 w 2880"/>
              <a:gd name="T101" fmla="*/ 363 h 545"/>
              <a:gd name="T102" fmla="*/ 2295 w 2880"/>
              <a:gd name="T103" fmla="*/ 391 h 545"/>
              <a:gd name="T104" fmla="*/ 2377 w 2880"/>
              <a:gd name="T105" fmla="*/ 363 h 545"/>
              <a:gd name="T106" fmla="*/ 2419 w 2880"/>
              <a:gd name="T107" fmla="*/ 423 h 545"/>
              <a:gd name="T108" fmla="*/ 2557 w 2880"/>
              <a:gd name="T109" fmla="*/ 311 h 545"/>
              <a:gd name="T110" fmla="*/ 2647 w 2880"/>
              <a:gd name="T111" fmla="*/ 326 h 545"/>
              <a:gd name="T112" fmla="*/ 2707 w 2880"/>
              <a:gd name="T113" fmla="*/ 386 h 545"/>
              <a:gd name="T114" fmla="*/ 2800 w 2880"/>
              <a:gd name="T115" fmla="*/ 481 h 545"/>
              <a:gd name="T116" fmla="*/ 2880 w 2880"/>
              <a:gd name="T117" fmla="*/ 471 h 5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880" h="545">
                <a:moveTo>
                  <a:pt x="2537" y="545"/>
                </a:moveTo>
                <a:cubicBezTo>
                  <a:pt x="1363" y="545"/>
                  <a:pt x="1363" y="545"/>
                  <a:pt x="1363" y="545"/>
                </a:cubicBezTo>
                <a:cubicBezTo>
                  <a:pt x="1363" y="527"/>
                  <a:pt x="1341" y="512"/>
                  <a:pt x="1314" y="512"/>
                </a:cubicBezTo>
                <a:cubicBezTo>
                  <a:pt x="1286" y="512"/>
                  <a:pt x="1264" y="527"/>
                  <a:pt x="1264" y="545"/>
                </a:cubicBezTo>
                <a:cubicBezTo>
                  <a:pt x="1252" y="545"/>
                  <a:pt x="1252" y="545"/>
                  <a:pt x="1252" y="545"/>
                </a:cubicBezTo>
                <a:cubicBezTo>
                  <a:pt x="1252" y="527"/>
                  <a:pt x="1229" y="512"/>
                  <a:pt x="1202" y="512"/>
                </a:cubicBezTo>
                <a:cubicBezTo>
                  <a:pt x="1175" y="512"/>
                  <a:pt x="1153" y="527"/>
                  <a:pt x="1153" y="545"/>
                </a:cubicBezTo>
                <a:cubicBezTo>
                  <a:pt x="1133" y="545"/>
                  <a:pt x="1133" y="545"/>
                  <a:pt x="1133" y="545"/>
                </a:cubicBezTo>
                <a:cubicBezTo>
                  <a:pt x="1133" y="527"/>
                  <a:pt x="1111" y="512"/>
                  <a:pt x="1084" y="512"/>
                </a:cubicBezTo>
                <a:cubicBezTo>
                  <a:pt x="1057" y="512"/>
                  <a:pt x="1035" y="527"/>
                  <a:pt x="1035" y="545"/>
                </a:cubicBezTo>
                <a:cubicBezTo>
                  <a:pt x="1021" y="545"/>
                  <a:pt x="1021" y="545"/>
                  <a:pt x="1021" y="545"/>
                </a:cubicBezTo>
                <a:cubicBezTo>
                  <a:pt x="1021" y="527"/>
                  <a:pt x="999" y="512"/>
                  <a:pt x="972" y="512"/>
                </a:cubicBezTo>
                <a:cubicBezTo>
                  <a:pt x="945" y="512"/>
                  <a:pt x="923" y="527"/>
                  <a:pt x="923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173"/>
                  <a:pt x="0" y="173"/>
                  <a:pt x="0" y="173"/>
                </a:cubicBezTo>
                <a:cubicBezTo>
                  <a:pt x="32" y="162"/>
                  <a:pt x="32" y="162"/>
                  <a:pt x="32" y="162"/>
                </a:cubicBezTo>
                <a:cubicBezTo>
                  <a:pt x="112" y="259"/>
                  <a:pt x="112" y="259"/>
                  <a:pt x="112" y="259"/>
                </a:cubicBezTo>
                <a:cubicBezTo>
                  <a:pt x="159" y="259"/>
                  <a:pt x="159" y="259"/>
                  <a:pt x="159" y="259"/>
                </a:cubicBezTo>
                <a:cubicBezTo>
                  <a:pt x="187" y="281"/>
                  <a:pt x="187" y="281"/>
                  <a:pt x="187" y="281"/>
                </a:cubicBezTo>
                <a:cubicBezTo>
                  <a:pt x="232" y="306"/>
                  <a:pt x="232" y="306"/>
                  <a:pt x="232" y="306"/>
                </a:cubicBezTo>
                <a:cubicBezTo>
                  <a:pt x="276" y="346"/>
                  <a:pt x="276" y="346"/>
                  <a:pt x="276" y="346"/>
                </a:cubicBezTo>
                <a:cubicBezTo>
                  <a:pt x="319" y="334"/>
                  <a:pt x="319" y="334"/>
                  <a:pt x="319" y="334"/>
                </a:cubicBezTo>
                <a:cubicBezTo>
                  <a:pt x="363" y="387"/>
                  <a:pt x="363" y="387"/>
                  <a:pt x="363" y="387"/>
                </a:cubicBezTo>
                <a:cubicBezTo>
                  <a:pt x="399" y="354"/>
                  <a:pt x="399" y="354"/>
                  <a:pt x="399" y="354"/>
                </a:cubicBezTo>
                <a:cubicBezTo>
                  <a:pt x="418" y="287"/>
                  <a:pt x="418" y="287"/>
                  <a:pt x="418" y="287"/>
                </a:cubicBezTo>
                <a:cubicBezTo>
                  <a:pt x="426" y="258"/>
                  <a:pt x="426" y="258"/>
                  <a:pt x="426" y="258"/>
                </a:cubicBezTo>
                <a:cubicBezTo>
                  <a:pt x="435" y="258"/>
                  <a:pt x="435" y="258"/>
                  <a:pt x="435" y="258"/>
                </a:cubicBezTo>
                <a:cubicBezTo>
                  <a:pt x="446" y="304"/>
                  <a:pt x="446" y="304"/>
                  <a:pt x="446" y="304"/>
                </a:cubicBezTo>
                <a:cubicBezTo>
                  <a:pt x="457" y="304"/>
                  <a:pt x="457" y="304"/>
                  <a:pt x="457" y="304"/>
                </a:cubicBezTo>
                <a:cubicBezTo>
                  <a:pt x="457" y="209"/>
                  <a:pt x="457" y="209"/>
                  <a:pt x="457" y="209"/>
                </a:cubicBezTo>
                <a:cubicBezTo>
                  <a:pt x="469" y="206"/>
                  <a:pt x="469" y="206"/>
                  <a:pt x="469" y="206"/>
                </a:cubicBezTo>
                <a:cubicBezTo>
                  <a:pt x="500" y="0"/>
                  <a:pt x="500" y="0"/>
                  <a:pt x="500" y="0"/>
                </a:cubicBezTo>
                <a:cubicBezTo>
                  <a:pt x="532" y="204"/>
                  <a:pt x="532" y="204"/>
                  <a:pt x="532" y="204"/>
                </a:cubicBezTo>
                <a:cubicBezTo>
                  <a:pt x="546" y="205"/>
                  <a:pt x="546" y="205"/>
                  <a:pt x="546" y="205"/>
                </a:cubicBezTo>
                <a:cubicBezTo>
                  <a:pt x="546" y="337"/>
                  <a:pt x="546" y="337"/>
                  <a:pt x="546" y="337"/>
                </a:cubicBezTo>
                <a:cubicBezTo>
                  <a:pt x="583" y="375"/>
                  <a:pt x="583" y="375"/>
                  <a:pt x="583" y="375"/>
                </a:cubicBezTo>
                <a:cubicBezTo>
                  <a:pt x="639" y="375"/>
                  <a:pt x="639" y="375"/>
                  <a:pt x="639" y="375"/>
                </a:cubicBezTo>
                <a:cubicBezTo>
                  <a:pt x="639" y="311"/>
                  <a:pt x="639" y="311"/>
                  <a:pt x="639" y="311"/>
                </a:cubicBezTo>
                <a:cubicBezTo>
                  <a:pt x="639" y="311"/>
                  <a:pt x="620" y="307"/>
                  <a:pt x="620" y="298"/>
                </a:cubicBezTo>
                <a:cubicBezTo>
                  <a:pt x="620" y="290"/>
                  <a:pt x="639" y="286"/>
                  <a:pt x="639" y="286"/>
                </a:cubicBezTo>
                <a:cubicBezTo>
                  <a:pt x="639" y="275"/>
                  <a:pt x="639" y="275"/>
                  <a:pt x="639" y="275"/>
                </a:cubicBezTo>
                <a:cubicBezTo>
                  <a:pt x="656" y="258"/>
                  <a:pt x="656" y="258"/>
                  <a:pt x="656" y="258"/>
                </a:cubicBezTo>
                <a:cubicBezTo>
                  <a:pt x="680" y="180"/>
                  <a:pt x="680" y="180"/>
                  <a:pt x="680" y="180"/>
                </a:cubicBezTo>
                <a:cubicBezTo>
                  <a:pt x="699" y="258"/>
                  <a:pt x="699" y="258"/>
                  <a:pt x="699" y="258"/>
                </a:cubicBezTo>
                <a:cubicBezTo>
                  <a:pt x="718" y="272"/>
                  <a:pt x="718" y="272"/>
                  <a:pt x="718" y="272"/>
                </a:cubicBezTo>
                <a:cubicBezTo>
                  <a:pt x="718" y="286"/>
                  <a:pt x="718" y="286"/>
                  <a:pt x="718" y="286"/>
                </a:cubicBezTo>
                <a:cubicBezTo>
                  <a:pt x="718" y="286"/>
                  <a:pt x="734" y="290"/>
                  <a:pt x="734" y="299"/>
                </a:cubicBezTo>
                <a:cubicBezTo>
                  <a:pt x="734" y="308"/>
                  <a:pt x="718" y="310"/>
                  <a:pt x="718" y="310"/>
                </a:cubicBezTo>
                <a:cubicBezTo>
                  <a:pt x="718" y="403"/>
                  <a:pt x="718" y="403"/>
                  <a:pt x="718" y="403"/>
                </a:cubicBezTo>
                <a:cubicBezTo>
                  <a:pt x="737" y="403"/>
                  <a:pt x="737" y="403"/>
                  <a:pt x="737" y="403"/>
                </a:cubicBezTo>
                <a:cubicBezTo>
                  <a:pt x="751" y="388"/>
                  <a:pt x="751" y="388"/>
                  <a:pt x="751" y="388"/>
                </a:cubicBezTo>
                <a:cubicBezTo>
                  <a:pt x="789" y="388"/>
                  <a:pt x="789" y="388"/>
                  <a:pt x="789" y="388"/>
                </a:cubicBezTo>
                <a:cubicBezTo>
                  <a:pt x="789" y="375"/>
                  <a:pt x="789" y="375"/>
                  <a:pt x="789" y="375"/>
                </a:cubicBezTo>
                <a:cubicBezTo>
                  <a:pt x="917" y="375"/>
                  <a:pt x="917" y="375"/>
                  <a:pt x="917" y="375"/>
                </a:cubicBezTo>
                <a:cubicBezTo>
                  <a:pt x="917" y="383"/>
                  <a:pt x="917" y="383"/>
                  <a:pt x="917" y="383"/>
                </a:cubicBezTo>
                <a:cubicBezTo>
                  <a:pt x="954" y="383"/>
                  <a:pt x="954" y="383"/>
                  <a:pt x="954" y="383"/>
                </a:cubicBezTo>
                <a:cubicBezTo>
                  <a:pt x="964" y="395"/>
                  <a:pt x="964" y="395"/>
                  <a:pt x="964" y="395"/>
                </a:cubicBezTo>
                <a:cubicBezTo>
                  <a:pt x="964" y="435"/>
                  <a:pt x="964" y="435"/>
                  <a:pt x="964" y="435"/>
                </a:cubicBezTo>
                <a:cubicBezTo>
                  <a:pt x="1006" y="435"/>
                  <a:pt x="1006" y="435"/>
                  <a:pt x="1006" y="435"/>
                </a:cubicBezTo>
                <a:cubicBezTo>
                  <a:pt x="1021" y="419"/>
                  <a:pt x="1021" y="419"/>
                  <a:pt x="1021" y="419"/>
                </a:cubicBezTo>
                <a:cubicBezTo>
                  <a:pt x="1036" y="431"/>
                  <a:pt x="1036" y="431"/>
                  <a:pt x="1036" y="431"/>
                </a:cubicBezTo>
                <a:cubicBezTo>
                  <a:pt x="1065" y="431"/>
                  <a:pt x="1065" y="431"/>
                  <a:pt x="1065" y="431"/>
                </a:cubicBezTo>
                <a:cubicBezTo>
                  <a:pt x="1084" y="412"/>
                  <a:pt x="1084" y="412"/>
                  <a:pt x="1084" y="412"/>
                </a:cubicBezTo>
                <a:cubicBezTo>
                  <a:pt x="1104" y="429"/>
                  <a:pt x="1104" y="429"/>
                  <a:pt x="1104" y="429"/>
                </a:cubicBezTo>
                <a:cubicBezTo>
                  <a:pt x="1161" y="429"/>
                  <a:pt x="1161" y="429"/>
                  <a:pt x="1161" y="429"/>
                </a:cubicBezTo>
                <a:cubicBezTo>
                  <a:pt x="1175" y="415"/>
                  <a:pt x="1175" y="415"/>
                  <a:pt x="1175" y="415"/>
                </a:cubicBezTo>
                <a:cubicBezTo>
                  <a:pt x="1188" y="427"/>
                  <a:pt x="1188" y="427"/>
                  <a:pt x="1188" y="427"/>
                </a:cubicBezTo>
                <a:cubicBezTo>
                  <a:pt x="1210" y="427"/>
                  <a:pt x="1210" y="427"/>
                  <a:pt x="1210" y="427"/>
                </a:cubicBezTo>
                <a:cubicBezTo>
                  <a:pt x="1210" y="497"/>
                  <a:pt x="1210" y="497"/>
                  <a:pt x="1210" y="497"/>
                </a:cubicBezTo>
                <a:cubicBezTo>
                  <a:pt x="1246" y="497"/>
                  <a:pt x="1246" y="497"/>
                  <a:pt x="1246" y="497"/>
                </a:cubicBezTo>
                <a:cubicBezTo>
                  <a:pt x="1246" y="443"/>
                  <a:pt x="1246" y="443"/>
                  <a:pt x="1246" y="443"/>
                </a:cubicBezTo>
                <a:cubicBezTo>
                  <a:pt x="1225" y="443"/>
                  <a:pt x="1225" y="443"/>
                  <a:pt x="1225" y="443"/>
                </a:cubicBezTo>
                <a:cubicBezTo>
                  <a:pt x="1251" y="427"/>
                  <a:pt x="1251" y="427"/>
                  <a:pt x="1251" y="427"/>
                </a:cubicBezTo>
                <a:cubicBezTo>
                  <a:pt x="1251" y="406"/>
                  <a:pt x="1251" y="406"/>
                  <a:pt x="1251" y="406"/>
                </a:cubicBezTo>
                <a:cubicBezTo>
                  <a:pt x="1280" y="406"/>
                  <a:pt x="1280" y="406"/>
                  <a:pt x="1280" y="406"/>
                </a:cubicBezTo>
                <a:cubicBezTo>
                  <a:pt x="1299" y="390"/>
                  <a:pt x="1299" y="390"/>
                  <a:pt x="1299" y="390"/>
                </a:cubicBezTo>
                <a:cubicBezTo>
                  <a:pt x="1319" y="406"/>
                  <a:pt x="1319" y="406"/>
                  <a:pt x="1319" y="406"/>
                </a:cubicBezTo>
                <a:cubicBezTo>
                  <a:pt x="1349" y="406"/>
                  <a:pt x="1349" y="406"/>
                  <a:pt x="1349" y="406"/>
                </a:cubicBezTo>
                <a:cubicBezTo>
                  <a:pt x="1349" y="431"/>
                  <a:pt x="1349" y="431"/>
                  <a:pt x="1349" y="431"/>
                </a:cubicBezTo>
                <a:cubicBezTo>
                  <a:pt x="1369" y="431"/>
                  <a:pt x="1369" y="431"/>
                  <a:pt x="1369" y="431"/>
                </a:cubicBezTo>
                <a:cubicBezTo>
                  <a:pt x="1369" y="396"/>
                  <a:pt x="1369" y="396"/>
                  <a:pt x="1369" y="396"/>
                </a:cubicBezTo>
                <a:cubicBezTo>
                  <a:pt x="1390" y="375"/>
                  <a:pt x="1390" y="375"/>
                  <a:pt x="1390" y="375"/>
                </a:cubicBezTo>
                <a:cubicBezTo>
                  <a:pt x="1390" y="355"/>
                  <a:pt x="1390" y="355"/>
                  <a:pt x="1390" y="355"/>
                </a:cubicBezTo>
                <a:cubicBezTo>
                  <a:pt x="1415" y="355"/>
                  <a:pt x="1415" y="355"/>
                  <a:pt x="1415" y="355"/>
                </a:cubicBezTo>
                <a:cubicBezTo>
                  <a:pt x="1445" y="329"/>
                  <a:pt x="1445" y="329"/>
                  <a:pt x="1445" y="329"/>
                </a:cubicBezTo>
                <a:cubicBezTo>
                  <a:pt x="1548" y="329"/>
                  <a:pt x="1548" y="329"/>
                  <a:pt x="1548" y="329"/>
                </a:cubicBezTo>
                <a:cubicBezTo>
                  <a:pt x="1548" y="307"/>
                  <a:pt x="1548" y="307"/>
                  <a:pt x="1548" y="307"/>
                </a:cubicBezTo>
                <a:cubicBezTo>
                  <a:pt x="1540" y="307"/>
                  <a:pt x="1540" y="307"/>
                  <a:pt x="1540" y="307"/>
                </a:cubicBezTo>
                <a:cubicBezTo>
                  <a:pt x="1540" y="271"/>
                  <a:pt x="1540" y="271"/>
                  <a:pt x="1540" y="271"/>
                </a:cubicBezTo>
                <a:cubicBezTo>
                  <a:pt x="1550" y="271"/>
                  <a:pt x="1550" y="271"/>
                  <a:pt x="1550" y="271"/>
                </a:cubicBezTo>
                <a:cubicBezTo>
                  <a:pt x="1550" y="244"/>
                  <a:pt x="1550" y="244"/>
                  <a:pt x="1550" y="244"/>
                </a:cubicBezTo>
                <a:cubicBezTo>
                  <a:pt x="1559" y="244"/>
                  <a:pt x="1559" y="244"/>
                  <a:pt x="1559" y="244"/>
                </a:cubicBezTo>
                <a:cubicBezTo>
                  <a:pt x="1559" y="272"/>
                  <a:pt x="1559" y="272"/>
                  <a:pt x="1559" y="272"/>
                </a:cubicBezTo>
                <a:cubicBezTo>
                  <a:pt x="1569" y="272"/>
                  <a:pt x="1569" y="272"/>
                  <a:pt x="1569" y="272"/>
                </a:cubicBezTo>
                <a:cubicBezTo>
                  <a:pt x="1569" y="306"/>
                  <a:pt x="1569" y="306"/>
                  <a:pt x="1569" y="306"/>
                </a:cubicBezTo>
                <a:cubicBezTo>
                  <a:pt x="1562" y="306"/>
                  <a:pt x="1562" y="306"/>
                  <a:pt x="1562" y="306"/>
                </a:cubicBezTo>
                <a:cubicBezTo>
                  <a:pt x="1562" y="329"/>
                  <a:pt x="1562" y="329"/>
                  <a:pt x="1562" y="329"/>
                </a:cubicBezTo>
                <a:cubicBezTo>
                  <a:pt x="1588" y="329"/>
                  <a:pt x="1588" y="329"/>
                  <a:pt x="1588" y="329"/>
                </a:cubicBezTo>
                <a:cubicBezTo>
                  <a:pt x="1616" y="375"/>
                  <a:pt x="1616" y="375"/>
                  <a:pt x="1616" y="375"/>
                </a:cubicBezTo>
                <a:cubicBezTo>
                  <a:pt x="1676" y="375"/>
                  <a:pt x="1676" y="375"/>
                  <a:pt x="1676" y="375"/>
                </a:cubicBezTo>
                <a:cubicBezTo>
                  <a:pt x="1676" y="329"/>
                  <a:pt x="1676" y="329"/>
                  <a:pt x="1676" y="329"/>
                </a:cubicBezTo>
                <a:cubicBezTo>
                  <a:pt x="1696" y="321"/>
                  <a:pt x="1696" y="321"/>
                  <a:pt x="1696" y="321"/>
                </a:cubicBezTo>
                <a:cubicBezTo>
                  <a:pt x="1696" y="258"/>
                  <a:pt x="1696" y="258"/>
                  <a:pt x="1696" y="258"/>
                </a:cubicBezTo>
                <a:cubicBezTo>
                  <a:pt x="1704" y="258"/>
                  <a:pt x="1704" y="258"/>
                  <a:pt x="1704" y="258"/>
                </a:cubicBezTo>
                <a:cubicBezTo>
                  <a:pt x="1704" y="166"/>
                  <a:pt x="1704" y="166"/>
                  <a:pt x="1704" y="166"/>
                </a:cubicBezTo>
                <a:cubicBezTo>
                  <a:pt x="1713" y="166"/>
                  <a:pt x="1713" y="166"/>
                  <a:pt x="1713" y="166"/>
                </a:cubicBezTo>
                <a:cubicBezTo>
                  <a:pt x="1713" y="104"/>
                  <a:pt x="1713" y="104"/>
                  <a:pt x="1713" y="104"/>
                </a:cubicBezTo>
                <a:cubicBezTo>
                  <a:pt x="1725" y="104"/>
                  <a:pt x="1725" y="104"/>
                  <a:pt x="1725" y="104"/>
                </a:cubicBezTo>
                <a:cubicBezTo>
                  <a:pt x="1725" y="83"/>
                  <a:pt x="1725" y="83"/>
                  <a:pt x="1725" y="83"/>
                </a:cubicBezTo>
                <a:cubicBezTo>
                  <a:pt x="1725" y="83"/>
                  <a:pt x="1725" y="58"/>
                  <a:pt x="1751" y="58"/>
                </a:cubicBezTo>
                <a:cubicBezTo>
                  <a:pt x="1776" y="58"/>
                  <a:pt x="1778" y="83"/>
                  <a:pt x="1778" y="83"/>
                </a:cubicBezTo>
                <a:cubicBezTo>
                  <a:pt x="1778" y="104"/>
                  <a:pt x="1778" y="104"/>
                  <a:pt x="1778" y="104"/>
                </a:cubicBezTo>
                <a:cubicBezTo>
                  <a:pt x="1786" y="104"/>
                  <a:pt x="1786" y="104"/>
                  <a:pt x="1786" y="104"/>
                </a:cubicBezTo>
                <a:cubicBezTo>
                  <a:pt x="1786" y="164"/>
                  <a:pt x="1786" y="164"/>
                  <a:pt x="1786" y="164"/>
                </a:cubicBezTo>
                <a:cubicBezTo>
                  <a:pt x="1793" y="164"/>
                  <a:pt x="1793" y="164"/>
                  <a:pt x="1793" y="164"/>
                </a:cubicBezTo>
                <a:cubicBezTo>
                  <a:pt x="1793" y="257"/>
                  <a:pt x="1793" y="257"/>
                  <a:pt x="1793" y="257"/>
                </a:cubicBezTo>
                <a:cubicBezTo>
                  <a:pt x="1802" y="257"/>
                  <a:pt x="1802" y="257"/>
                  <a:pt x="1802" y="257"/>
                </a:cubicBezTo>
                <a:cubicBezTo>
                  <a:pt x="1802" y="164"/>
                  <a:pt x="1802" y="164"/>
                  <a:pt x="1802" y="164"/>
                </a:cubicBezTo>
                <a:cubicBezTo>
                  <a:pt x="1805" y="164"/>
                  <a:pt x="1805" y="164"/>
                  <a:pt x="1805" y="164"/>
                </a:cubicBezTo>
                <a:cubicBezTo>
                  <a:pt x="1805" y="104"/>
                  <a:pt x="1805" y="104"/>
                  <a:pt x="1805" y="104"/>
                </a:cubicBezTo>
                <a:cubicBezTo>
                  <a:pt x="1819" y="104"/>
                  <a:pt x="1819" y="104"/>
                  <a:pt x="1819" y="104"/>
                </a:cubicBezTo>
                <a:cubicBezTo>
                  <a:pt x="1819" y="83"/>
                  <a:pt x="1819" y="83"/>
                  <a:pt x="1819" y="83"/>
                </a:cubicBezTo>
                <a:cubicBezTo>
                  <a:pt x="1819" y="83"/>
                  <a:pt x="1819" y="58"/>
                  <a:pt x="1844" y="58"/>
                </a:cubicBezTo>
                <a:cubicBezTo>
                  <a:pt x="1870" y="58"/>
                  <a:pt x="1872" y="83"/>
                  <a:pt x="1872" y="83"/>
                </a:cubicBezTo>
                <a:cubicBezTo>
                  <a:pt x="1872" y="104"/>
                  <a:pt x="1872" y="104"/>
                  <a:pt x="1872" y="104"/>
                </a:cubicBezTo>
                <a:cubicBezTo>
                  <a:pt x="1878" y="104"/>
                  <a:pt x="1878" y="104"/>
                  <a:pt x="1878" y="104"/>
                </a:cubicBezTo>
                <a:cubicBezTo>
                  <a:pt x="1878" y="167"/>
                  <a:pt x="1878" y="167"/>
                  <a:pt x="1878" y="167"/>
                </a:cubicBezTo>
                <a:cubicBezTo>
                  <a:pt x="1886" y="167"/>
                  <a:pt x="1886" y="167"/>
                  <a:pt x="1886" y="167"/>
                </a:cubicBezTo>
                <a:cubicBezTo>
                  <a:pt x="1886" y="258"/>
                  <a:pt x="1886" y="258"/>
                  <a:pt x="1886" y="258"/>
                </a:cubicBezTo>
                <a:cubicBezTo>
                  <a:pt x="2028" y="258"/>
                  <a:pt x="2028" y="258"/>
                  <a:pt x="2028" y="258"/>
                </a:cubicBezTo>
                <a:cubicBezTo>
                  <a:pt x="2028" y="241"/>
                  <a:pt x="2028" y="241"/>
                  <a:pt x="2028" y="241"/>
                </a:cubicBezTo>
                <a:cubicBezTo>
                  <a:pt x="2018" y="241"/>
                  <a:pt x="2018" y="241"/>
                  <a:pt x="2018" y="241"/>
                </a:cubicBezTo>
                <a:cubicBezTo>
                  <a:pt x="2018" y="230"/>
                  <a:pt x="2018" y="230"/>
                  <a:pt x="2018" y="230"/>
                </a:cubicBezTo>
                <a:cubicBezTo>
                  <a:pt x="2028" y="230"/>
                  <a:pt x="2028" y="230"/>
                  <a:pt x="2028" y="230"/>
                </a:cubicBezTo>
                <a:cubicBezTo>
                  <a:pt x="2028" y="192"/>
                  <a:pt x="2028" y="192"/>
                  <a:pt x="2028" y="192"/>
                </a:cubicBezTo>
                <a:cubicBezTo>
                  <a:pt x="2035" y="192"/>
                  <a:pt x="2035" y="192"/>
                  <a:pt x="2035" y="192"/>
                </a:cubicBezTo>
                <a:cubicBezTo>
                  <a:pt x="2035" y="158"/>
                  <a:pt x="2035" y="158"/>
                  <a:pt x="2035" y="158"/>
                </a:cubicBezTo>
                <a:cubicBezTo>
                  <a:pt x="2035" y="150"/>
                  <a:pt x="2035" y="150"/>
                  <a:pt x="2035" y="150"/>
                </a:cubicBezTo>
                <a:cubicBezTo>
                  <a:pt x="2046" y="150"/>
                  <a:pt x="2046" y="150"/>
                  <a:pt x="2046" y="150"/>
                </a:cubicBezTo>
                <a:cubicBezTo>
                  <a:pt x="2046" y="192"/>
                  <a:pt x="2046" y="192"/>
                  <a:pt x="2046" y="192"/>
                </a:cubicBezTo>
                <a:cubicBezTo>
                  <a:pt x="2051" y="192"/>
                  <a:pt x="2051" y="192"/>
                  <a:pt x="2051" y="192"/>
                </a:cubicBezTo>
                <a:cubicBezTo>
                  <a:pt x="2051" y="230"/>
                  <a:pt x="2051" y="230"/>
                  <a:pt x="2051" y="230"/>
                </a:cubicBezTo>
                <a:cubicBezTo>
                  <a:pt x="2064" y="230"/>
                  <a:pt x="2064" y="230"/>
                  <a:pt x="2064" y="230"/>
                </a:cubicBezTo>
                <a:cubicBezTo>
                  <a:pt x="2064" y="241"/>
                  <a:pt x="2064" y="241"/>
                  <a:pt x="2064" y="241"/>
                </a:cubicBezTo>
                <a:cubicBezTo>
                  <a:pt x="2051" y="241"/>
                  <a:pt x="2051" y="241"/>
                  <a:pt x="2051" y="241"/>
                </a:cubicBezTo>
                <a:cubicBezTo>
                  <a:pt x="2051" y="258"/>
                  <a:pt x="2051" y="258"/>
                  <a:pt x="2051" y="258"/>
                </a:cubicBezTo>
                <a:cubicBezTo>
                  <a:pt x="2077" y="258"/>
                  <a:pt x="2077" y="258"/>
                  <a:pt x="2077" y="258"/>
                </a:cubicBezTo>
                <a:cubicBezTo>
                  <a:pt x="2104" y="286"/>
                  <a:pt x="2104" y="286"/>
                  <a:pt x="2104" y="286"/>
                </a:cubicBezTo>
                <a:cubicBezTo>
                  <a:pt x="2136" y="286"/>
                  <a:pt x="2136" y="286"/>
                  <a:pt x="2136" y="286"/>
                </a:cubicBezTo>
                <a:cubicBezTo>
                  <a:pt x="2136" y="333"/>
                  <a:pt x="2136" y="333"/>
                  <a:pt x="2136" y="333"/>
                </a:cubicBezTo>
                <a:cubicBezTo>
                  <a:pt x="2178" y="333"/>
                  <a:pt x="2178" y="333"/>
                  <a:pt x="2178" y="333"/>
                </a:cubicBezTo>
                <a:cubicBezTo>
                  <a:pt x="2178" y="363"/>
                  <a:pt x="2178" y="363"/>
                  <a:pt x="2178" y="363"/>
                </a:cubicBezTo>
                <a:cubicBezTo>
                  <a:pt x="2221" y="363"/>
                  <a:pt x="2221" y="363"/>
                  <a:pt x="2221" y="363"/>
                </a:cubicBezTo>
                <a:cubicBezTo>
                  <a:pt x="2221" y="343"/>
                  <a:pt x="2221" y="343"/>
                  <a:pt x="2221" y="343"/>
                </a:cubicBezTo>
                <a:cubicBezTo>
                  <a:pt x="2243" y="343"/>
                  <a:pt x="2243" y="343"/>
                  <a:pt x="2243" y="343"/>
                </a:cubicBezTo>
                <a:cubicBezTo>
                  <a:pt x="2295" y="391"/>
                  <a:pt x="2295" y="391"/>
                  <a:pt x="2295" y="391"/>
                </a:cubicBezTo>
                <a:cubicBezTo>
                  <a:pt x="2312" y="391"/>
                  <a:pt x="2312" y="391"/>
                  <a:pt x="2312" y="391"/>
                </a:cubicBezTo>
                <a:cubicBezTo>
                  <a:pt x="2312" y="363"/>
                  <a:pt x="2312" y="363"/>
                  <a:pt x="2312" y="363"/>
                </a:cubicBezTo>
                <a:cubicBezTo>
                  <a:pt x="2377" y="363"/>
                  <a:pt x="2377" y="363"/>
                  <a:pt x="2377" y="363"/>
                </a:cubicBezTo>
                <a:cubicBezTo>
                  <a:pt x="2377" y="453"/>
                  <a:pt x="2377" y="453"/>
                  <a:pt x="2377" y="453"/>
                </a:cubicBezTo>
                <a:cubicBezTo>
                  <a:pt x="2419" y="453"/>
                  <a:pt x="2419" y="453"/>
                  <a:pt x="2419" y="453"/>
                </a:cubicBezTo>
                <a:cubicBezTo>
                  <a:pt x="2419" y="423"/>
                  <a:pt x="2419" y="423"/>
                  <a:pt x="2419" y="423"/>
                </a:cubicBezTo>
                <a:cubicBezTo>
                  <a:pt x="2477" y="423"/>
                  <a:pt x="2477" y="423"/>
                  <a:pt x="2477" y="423"/>
                </a:cubicBezTo>
                <a:cubicBezTo>
                  <a:pt x="2512" y="311"/>
                  <a:pt x="2512" y="311"/>
                  <a:pt x="2512" y="311"/>
                </a:cubicBezTo>
                <a:cubicBezTo>
                  <a:pt x="2557" y="311"/>
                  <a:pt x="2557" y="311"/>
                  <a:pt x="2557" y="311"/>
                </a:cubicBezTo>
                <a:cubicBezTo>
                  <a:pt x="2587" y="341"/>
                  <a:pt x="2587" y="341"/>
                  <a:pt x="2587" y="341"/>
                </a:cubicBezTo>
                <a:cubicBezTo>
                  <a:pt x="2625" y="341"/>
                  <a:pt x="2625" y="341"/>
                  <a:pt x="2625" y="341"/>
                </a:cubicBezTo>
                <a:cubicBezTo>
                  <a:pt x="2647" y="326"/>
                  <a:pt x="2647" y="326"/>
                  <a:pt x="2647" y="326"/>
                </a:cubicBezTo>
                <a:cubicBezTo>
                  <a:pt x="2669" y="342"/>
                  <a:pt x="2669" y="342"/>
                  <a:pt x="2669" y="342"/>
                </a:cubicBezTo>
                <a:cubicBezTo>
                  <a:pt x="2707" y="342"/>
                  <a:pt x="2707" y="342"/>
                  <a:pt x="2707" y="342"/>
                </a:cubicBezTo>
                <a:cubicBezTo>
                  <a:pt x="2707" y="386"/>
                  <a:pt x="2707" y="386"/>
                  <a:pt x="2707" y="386"/>
                </a:cubicBezTo>
                <a:cubicBezTo>
                  <a:pt x="2743" y="386"/>
                  <a:pt x="2743" y="386"/>
                  <a:pt x="2743" y="386"/>
                </a:cubicBezTo>
                <a:cubicBezTo>
                  <a:pt x="2743" y="433"/>
                  <a:pt x="2743" y="433"/>
                  <a:pt x="2743" y="433"/>
                </a:cubicBezTo>
                <a:cubicBezTo>
                  <a:pt x="2800" y="481"/>
                  <a:pt x="2800" y="481"/>
                  <a:pt x="2800" y="481"/>
                </a:cubicBezTo>
                <a:cubicBezTo>
                  <a:pt x="2800" y="450"/>
                  <a:pt x="2800" y="450"/>
                  <a:pt x="2800" y="450"/>
                </a:cubicBezTo>
                <a:cubicBezTo>
                  <a:pt x="2880" y="450"/>
                  <a:pt x="2880" y="450"/>
                  <a:pt x="2880" y="450"/>
                </a:cubicBezTo>
                <a:cubicBezTo>
                  <a:pt x="2880" y="471"/>
                  <a:pt x="2880" y="471"/>
                  <a:pt x="2880" y="471"/>
                </a:cubicBezTo>
                <a:cubicBezTo>
                  <a:pt x="2880" y="545"/>
                  <a:pt x="2880" y="545"/>
                  <a:pt x="2880" y="545"/>
                </a:cubicBezTo>
                <a:lnTo>
                  <a:pt x="2537" y="545"/>
                </a:lnTo>
                <a:close/>
              </a:path>
            </a:pathLst>
          </a:custGeom>
          <a:solidFill>
            <a:schemeClr val="tx1">
              <a:alpha val="2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8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0" y="0"/>
            <a:ext cx="12192000" cy="6864640"/>
            <a:chOff x="0" y="0"/>
            <a:chExt cx="9144000" cy="6864640"/>
          </a:xfrm>
        </p:grpSpPr>
        <p:sp>
          <p:nvSpPr>
            <p:cNvPr id="6" name="Rechteck 5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81641" tIns="40820" rIns="81641" bIns="40820" numCol="1" rtlCol="0" anchor="ctr" anchorCtr="0" compatLnSpc="1">
              <a:prstTxWarp prst="textNoShape">
                <a:avLst/>
              </a:prstTxWarp>
            </a:bodyPr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pic>
        <p:nvPicPr>
          <p:cNvPr id="10" name="Picture 17" descr="Swisscom_Stacked_Primary_RGB_PP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7" descr="Swisscom_Stacked_Primary_RGB_PPT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7"/>
          <a:stretch/>
        </p:blipFill>
        <p:spPr bwMode="auto">
          <a:xfrm>
            <a:off x="11059584" y="6084095"/>
            <a:ext cx="1056216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Freeform 5"/>
          <p:cNvSpPr>
            <a:spLocks/>
          </p:cNvSpPr>
          <p:nvPr/>
        </p:nvSpPr>
        <p:spPr bwMode="auto">
          <a:xfrm>
            <a:off x="21167" y="5022218"/>
            <a:ext cx="11004549" cy="1550358"/>
          </a:xfrm>
          <a:custGeom>
            <a:avLst/>
            <a:gdLst>
              <a:gd name="T0" fmla="*/ 565 w 2915"/>
              <a:gd name="T1" fmla="*/ 281 h 545"/>
              <a:gd name="T2" fmla="*/ 697 w 2915"/>
              <a:gd name="T3" fmla="*/ 334 h 545"/>
              <a:gd name="T4" fmla="*/ 796 w 2915"/>
              <a:gd name="T5" fmla="*/ 287 h 545"/>
              <a:gd name="T6" fmla="*/ 824 w 2915"/>
              <a:gd name="T7" fmla="*/ 304 h 545"/>
              <a:gd name="T8" fmla="*/ 847 w 2915"/>
              <a:gd name="T9" fmla="*/ 206 h 545"/>
              <a:gd name="T10" fmla="*/ 924 w 2915"/>
              <a:gd name="T11" fmla="*/ 205 h 545"/>
              <a:gd name="T12" fmla="*/ 1017 w 2915"/>
              <a:gd name="T13" fmla="*/ 375 h 545"/>
              <a:gd name="T14" fmla="*/ 1017 w 2915"/>
              <a:gd name="T15" fmla="*/ 286 h 545"/>
              <a:gd name="T16" fmla="*/ 1058 w 2915"/>
              <a:gd name="T17" fmla="*/ 180 h 545"/>
              <a:gd name="T18" fmla="*/ 1096 w 2915"/>
              <a:gd name="T19" fmla="*/ 286 h 545"/>
              <a:gd name="T20" fmla="*/ 1096 w 2915"/>
              <a:gd name="T21" fmla="*/ 403 h 545"/>
              <a:gd name="T22" fmla="*/ 1167 w 2915"/>
              <a:gd name="T23" fmla="*/ 388 h 545"/>
              <a:gd name="T24" fmla="*/ 1295 w 2915"/>
              <a:gd name="T25" fmla="*/ 383 h 545"/>
              <a:gd name="T26" fmla="*/ 1342 w 2915"/>
              <a:gd name="T27" fmla="*/ 435 h 545"/>
              <a:gd name="T28" fmla="*/ 1414 w 2915"/>
              <a:gd name="T29" fmla="*/ 431 h 545"/>
              <a:gd name="T30" fmla="*/ 1482 w 2915"/>
              <a:gd name="T31" fmla="*/ 429 h 545"/>
              <a:gd name="T32" fmla="*/ 1566 w 2915"/>
              <a:gd name="T33" fmla="*/ 427 h 545"/>
              <a:gd name="T34" fmla="*/ 1624 w 2915"/>
              <a:gd name="T35" fmla="*/ 497 h 545"/>
              <a:gd name="T36" fmla="*/ 1629 w 2915"/>
              <a:gd name="T37" fmla="*/ 427 h 545"/>
              <a:gd name="T38" fmla="*/ 1677 w 2915"/>
              <a:gd name="T39" fmla="*/ 390 h 545"/>
              <a:gd name="T40" fmla="*/ 1727 w 2915"/>
              <a:gd name="T41" fmla="*/ 431 h 545"/>
              <a:gd name="T42" fmla="*/ 1768 w 2915"/>
              <a:gd name="T43" fmla="*/ 375 h 545"/>
              <a:gd name="T44" fmla="*/ 1823 w 2915"/>
              <a:gd name="T45" fmla="*/ 329 h 545"/>
              <a:gd name="T46" fmla="*/ 1918 w 2915"/>
              <a:gd name="T47" fmla="*/ 307 h 545"/>
              <a:gd name="T48" fmla="*/ 1928 w 2915"/>
              <a:gd name="T49" fmla="*/ 244 h 545"/>
              <a:gd name="T50" fmla="*/ 1947 w 2915"/>
              <a:gd name="T51" fmla="*/ 272 h 545"/>
              <a:gd name="T52" fmla="*/ 1940 w 2915"/>
              <a:gd name="T53" fmla="*/ 329 h 545"/>
              <a:gd name="T54" fmla="*/ 2054 w 2915"/>
              <a:gd name="T55" fmla="*/ 375 h 545"/>
              <a:gd name="T56" fmla="*/ 2074 w 2915"/>
              <a:gd name="T57" fmla="*/ 258 h 545"/>
              <a:gd name="T58" fmla="*/ 2091 w 2915"/>
              <a:gd name="T59" fmla="*/ 166 h 545"/>
              <a:gd name="T60" fmla="*/ 2103 w 2915"/>
              <a:gd name="T61" fmla="*/ 83 h 545"/>
              <a:gd name="T62" fmla="*/ 2156 w 2915"/>
              <a:gd name="T63" fmla="*/ 104 h 545"/>
              <a:gd name="T64" fmla="*/ 2171 w 2915"/>
              <a:gd name="T65" fmla="*/ 164 h 545"/>
              <a:gd name="T66" fmla="*/ 2180 w 2915"/>
              <a:gd name="T67" fmla="*/ 164 h 545"/>
              <a:gd name="T68" fmla="*/ 2197 w 2915"/>
              <a:gd name="T69" fmla="*/ 104 h 545"/>
              <a:gd name="T70" fmla="*/ 2250 w 2915"/>
              <a:gd name="T71" fmla="*/ 83 h 545"/>
              <a:gd name="T72" fmla="*/ 2256 w 2915"/>
              <a:gd name="T73" fmla="*/ 167 h 545"/>
              <a:gd name="T74" fmla="*/ 2406 w 2915"/>
              <a:gd name="T75" fmla="*/ 258 h 545"/>
              <a:gd name="T76" fmla="*/ 2396 w 2915"/>
              <a:gd name="T77" fmla="*/ 230 h 545"/>
              <a:gd name="T78" fmla="*/ 2413 w 2915"/>
              <a:gd name="T79" fmla="*/ 192 h 545"/>
              <a:gd name="T80" fmla="*/ 2424 w 2915"/>
              <a:gd name="T81" fmla="*/ 150 h 545"/>
              <a:gd name="T82" fmla="*/ 2429 w 2915"/>
              <a:gd name="T83" fmla="*/ 230 h 545"/>
              <a:gd name="T84" fmla="*/ 2429 w 2915"/>
              <a:gd name="T85" fmla="*/ 241 h 545"/>
              <a:gd name="T86" fmla="*/ 2482 w 2915"/>
              <a:gd name="T87" fmla="*/ 286 h 545"/>
              <a:gd name="T88" fmla="*/ 2556 w 2915"/>
              <a:gd name="T89" fmla="*/ 333 h 545"/>
              <a:gd name="T90" fmla="*/ 2599 w 2915"/>
              <a:gd name="T91" fmla="*/ 343 h 545"/>
              <a:gd name="T92" fmla="*/ 2770 w 2915"/>
              <a:gd name="T93" fmla="*/ 391 h 545"/>
              <a:gd name="T94" fmla="*/ 2819 w 2915"/>
              <a:gd name="T95" fmla="*/ 453 h 545"/>
              <a:gd name="T96" fmla="*/ 2915 w 2915"/>
              <a:gd name="T97" fmla="*/ 423 h 545"/>
              <a:gd name="T98" fmla="*/ 1692 w 2915"/>
              <a:gd name="T99" fmla="*/ 512 h 545"/>
              <a:gd name="T100" fmla="*/ 1580 w 2915"/>
              <a:gd name="T101" fmla="*/ 512 h 545"/>
              <a:gd name="T102" fmla="*/ 1462 w 2915"/>
              <a:gd name="T103" fmla="*/ 512 h 545"/>
              <a:gd name="T104" fmla="*/ 1350 w 2915"/>
              <a:gd name="T105" fmla="*/ 512 h 545"/>
              <a:gd name="T106" fmla="*/ 0 w 2915"/>
              <a:gd name="T107" fmla="*/ 29 h 545"/>
              <a:gd name="T108" fmla="*/ 122 w 2915"/>
              <a:gd name="T109" fmla="*/ 152 h 545"/>
              <a:gd name="T110" fmla="*/ 187 w 2915"/>
              <a:gd name="T111" fmla="*/ 171 h 545"/>
              <a:gd name="T112" fmla="*/ 309 w 2915"/>
              <a:gd name="T113" fmla="*/ 130 h 545"/>
              <a:gd name="T114" fmla="*/ 490 w 2915"/>
              <a:gd name="T115" fmla="*/ 259 h 5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915" h="545">
                <a:moveTo>
                  <a:pt x="490" y="259"/>
                </a:moveTo>
                <a:cubicBezTo>
                  <a:pt x="537" y="259"/>
                  <a:pt x="537" y="259"/>
                  <a:pt x="537" y="259"/>
                </a:cubicBezTo>
                <a:cubicBezTo>
                  <a:pt x="565" y="281"/>
                  <a:pt x="565" y="281"/>
                  <a:pt x="565" y="281"/>
                </a:cubicBezTo>
                <a:cubicBezTo>
                  <a:pt x="610" y="306"/>
                  <a:pt x="610" y="306"/>
                  <a:pt x="610" y="306"/>
                </a:cubicBezTo>
                <a:cubicBezTo>
                  <a:pt x="654" y="346"/>
                  <a:pt x="654" y="346"/>
                  <a:pt x="654" y="346"/>
                </a:cubicBezTo>
                <a:cubicBezTo>
                  <a:pt x="697" y="334"/>
                  <a:pt x="697" y="334"/>
                  <a:pt x="697" y="334"/>
                </a:cubicBezTo>
                <a:cubicBezTo>
                  <a:pt x="741" y="387"/>
                  <a:pt x="741" y="387"/>
                  <a:pt x="741" y="387"/>
                </a:cubicBezTo>
                <a:cubicBezTo>
                  <a:pt x="777" y="354"/>
                  <a:pt x="777" y="354"/>
                  <a:pt x="777" y="354"/>
                </a:cubicBezTo>
                <a:cubicBezTo>
                  <a:pt x="796" y="287"/>
                  <a:pt x="796" y="287"/>
                  <a:pt x="796" y="287"/>
                </a:cubicBezTo>
                <a:cubicBezTo>
                  <a:pt x="804" y="258"/>
                  <a:pt x="804" y="258"/>
                  <a:pt x="804" y="258"/>
                </a:cubicBezTo>
                <a:cubicBezTo>
                  <a:pt x="813" y="258"/>
                  <a:pt x="813" y="258"/>
                  <a:pt x="813" y="258"/>
                </a:cubicBezTo>
                <a:cubicBezTo>
                  <a:pt x="824" y="304"/>
                  <a:pt x="824" y="304"/>
                  <a:pt x="824" y="304"/>
                </a:cubicBezTo>
                <a:cubicBezTo>
                  <a:pt x="835" y="304"/>
                  <a:pt x="835" y="304"/>
                  <a:pt x="835" y="304"/>
                </a:cubicBezTo>
                <a:cubicBezTo>
                  <a:pt x="835" y="209"/>
                  <a:pt x="835" y="209"/>
                  <a:pt x="835" y="209"/>
                </a:cubicBezTo>
                <a:cubicBezTo>
                  <a:pt x="847" y="206"/>
                  <a:pt x="847" y="206"/>
                  <a:pt x="847" y="206"/>
                </a:cubicBezTo>
                <a:cubicBezTo>
                  <a:pt x="878" y="0"/>
                  <a:pt x="878" y="0"/>
                  <a:pt x="878" y="0"/>
                </a:cubicBezTo>
                <a:cubicBezTo>
                  <a:pt x="910" y="204"/>
                  <a:pt x="910" y="204"/>
                  <a:pt x="910" y="204"/>
                </a:cubicBezTo>
                <a:cubicBezTo>
                  <a:pt x="924" y="205"/>
                  <a:pt x="924" y="205"/>
                  <a:pt x="924" y="205"/>
                </a:cubicBezTo>
                <a:cubicBezTo>
                  <a:pt x="924" y="337"/>
                  <a:pt x="924" y="337"/>
                  <a:pt x="924" y="337"/>
                </a:cubicBezTo>
                <a:cubicBezTo>
                  <a:pt x="961" y="375"/>
                  <a:pt x="961" y="375"/>
                  <a:pt x="961" y="375"/>
                </a:cubicBezTo>
                <a:cubicBezTo>
                  <a:pt x="1017" y="375"/>
                  <a:pt x="1017" y="375"/>
                  <a:pt x="1017" y="375"/>
                </a:cubicBezTo>
                <a:cubicBezTo>
                  <a:pt x="1017" y="311"/>
                  <a:pt x="1017" y="311"/>
                  <a:pt x="1017" y="311"/>
                </a:cubicBezTo>
                <a:cubicBezTo>
                  <a:pt x="1017" y="311"/>
                  <a:pt x="998" y="307"/>
                  <a:pt x="998" y="298"/>
                </a:cubicBezTo>
                <a:cubicBezTo>
                  <a:pt x="998" y="290"/>
                  <a:pt x="1017" y="286"/>
                  <a:pt x="1017" y="286"/>
                </a:cubicBezTo>
                <a:cubicBezTo>
                  <a:pt x="1017" y="275"/>
                  <a:pt x="1017" y="275"/>
                  <a:pt x="1017" y="275"/>
                </a:cubicBezTo>
                <a:cubicBezTo>
                  <a:pt x="1034" y="258"/>
                  <a:pt x="1034" y="258"/>
                  <a:pt x="1034" y="258"/>
                </a:cubicBezTo>
                <a:cubicBezTo>
                  <a:pt x="1058" y="180"/>
                  <a:pt x="1058" y="180"/>
                  <a:pt x="1058" y="180"/>
                </a:cubicBezTo>
                <a:cubicBezTo>
                  <a:pt x="1077" y="258"/>
                  <a:pt x="1077" y="258"/>
                  <a:pt x="1077" y="258"/>
                </a:cubicBezTo>
                <a:cubicBezTo>
                  <a:pt x="1096" y="272"/>
                  <a:pt x="1096" y="272"/>
                  <a:pt x="1096" y="272"/>
                </a:cubicBezTo>
                <a:cubicBezTo>
                  <a:pt x="1096" y="286"/>
                  <a:pt x="1096" y="286"/>
                  <a:pt x="1096" y="286"/>
                </a:cubicBezTo>
                <a:cubicBezTo>
                  <a:pt x="1096" y="286"/>
                  <a:pt x="1112" y="290"/>
                  <a:pt x="1112" y="299"/>
                </a:cubicBezTo>
                <a:cubicBezTo>
                  <a:pt x="1112" y="308"/>
                  <a:pt x="1096" y="310"/>
                  <a:pt x="1096" y="310"/>
                </a:cubicBezTo>
                <a:cubicBezTo>
                  <a:pt x="1096" y="403"/>
                  <a:pt x="1096" y="403"/>
                  <a:pt x="1096" y="403"/>
                </a:cubicBezTo>
                <a:cubicBezTo>
                  <a:pt x="1115" y="403"/>
                  <a:pt x="1115" y="403"/>
                  <a:pt x="1115" y="403"/>
                </a:cubicBezTo>
                <a:cubicBezTo>
                  <a:pt x="1129" y="388"/>
                  <a:pt x="1129" y="388"/>
                  <a:pt x="1129" y="388"/>
                </a:cubicBezTo>
                <a:cubicBezTo>
                  <a:pt x="1167" y="388"/>
                  <a:pt x="1167" y="388"/>
                  <a:pt x="1167" y="388"/>
                </a:cubicBezTo>
                <a:cubicBezTo>
                  <a:pt x="1167" y="375"/>
                  <a:pt x="1167" y="375"/>
                  <a:pt x="1167" y="375"/>
                </a:cubicBezTo>
                <a:cubicBezTo>
                  <a:pt x="1295" y="375"/>
                  <a:pt x="1295" y="375"/>
                  <a:pt x="1295" y="375"/>
                </a:cubicBezTo>
                <a:cubicBezTo>
                  <a:pt x="1295" y="383"/>
                  <a:pt x="1295" y="383"/>
                  <a:pt x="1295" y="383"/>
                </a:cubicBezTo>
                <a:cubicBezTo>
                  <a:pt x="1332" y="383"/>
                  <a:pt x="1332" y="383"/>
                  <a:pt x="1332" y="383"/>
                </a:cubicBezTo>
                <a:cubicBezTo>
                  <a:pt x="1342" y="395"/>
                  <a:pt x="1342" y="395"/>
                  <a:pt x="1342" y="395"/>
                </a:cubicBezTo>
                <a:cubicBezTo>
                  <a:pt x="1342" y="435"/>
                  <a:pt x="1342" y="435"/>
                  <a:pt x="1342" y="435"/>
                </a:cubicBezTo>
                <a:cubicBezTo>
                  <a:pt x="1384" y="435"/>
                  <a:pt x="1384" y="435"/>
                  <a:pt x="1384" y="435"/>
                </a:cubicBezTo>
                <a:cubicBezTo>
                  <a:pt x="1399" y="419"/>
                  <a:pt x="1399" y="419"/>
                  <a:pt x="1399" y="419"/>
                </a:cubicBezTo>
                <a:cubicBezTo>
                  <a:pt x="1414" y="431"/>
                  <a:pt x="1414" y="431"/>
                  <a:pt x="1414" y="431"/>
                </a:cubicBezTo>
                <a:cubicBezTo>
                  <a:pt x="1443" y="431"/>
                  <a:pt x="1443" y="431"/>
                  <a:pt x="1443" y="431"/>
                </a:cubicBezTo>
                <a:cubicBezTo>
                  <a:pt x="1462" y="412"/>
                  <a:pt x="1462" y="412"/>
                  <a:pt x="1462" y="412"/>
                </a:cubicBezTo>
                <a:cubicBezTo>
                  <a:pt x="1482" y="429"/>
                  <a:pt x="1482" y="429"/>
                  <a:pt x="1482" y="429"/>
                </a:cubicBezTo>
                <a:cubicBezTo>
                  <a:pt x="1539" y="429"/>
                  <a:pt x="1539" y="429"/>
                  <a:pt x="1539" y="429"/>
                </a:cubicBezTo>
                <a:cubicBezTo>
                  <a:pt x="1553" y="415"/>
                  <a:pt x="1553" y="415"/>
                  <a:pt x="1553" y="415"/>
                </a:cubicBezTo>
                <a:cubicBezTo>
                  <a:pt x="1566" y="427"/>
                  <a:pt x="1566" y="427"/>
                  <a:pt x="1566" y="427"/>
                </a:cubicBezTo>
                <a:cubicBezTo>
                  <a:pt x="1588" y="427"/>
                  <a:pt x="1588" y="427"/>
                  <a:pt x="1588" y="427"/>
                </a:cubicBezTo>
                <a:cubicBezTo>
                  <a:pt x="1588" y="497"/>
                  <a:pt x="1588" y="497"/>
                  <a:pt x="1588" y="497"/>
                </a:cubicBezTo>
                <a:cubicBezTo>
                  <a:pt x="1624" y="497"/>
                  <a:pt x="1624" y="497"/>
                  <a:pt x="1624" y="497"/>
                </a:cubicBezTo>
                <a:cubicBezTo>
                  <a:pt x="1624" y="443"/>
                  <a:pt x="1624" y="443"/>
                  <a:pt x="1624" y="443"/>
                </a:cubicBezTo>
                <a:cubicBezTo>
                  <a:pt x="1603" y="443"/>
                  <a:pt x="1603" y="443"/>
                  <a:pt x="1603" y="443"/>
                </a:cubicBezTo>
                <a:cubicBezTo>
                  <a:pt x="1629" y="427"/>
                  <a:pt x="1629" y="427"/>
                  <a:pt x="1629" y="427"/>
                </a:cubicBezTo>
                <a:cubicBezTo>
                  <a:pt x="1629" y="406"/>
                  <a:pt x="1629" y="406"/>
                  <a:pt x="1629" y="406"/>
                </a:cubicBezTo>
                <a:cubicBezTo>
                  <a:pt x="1658" y="406"/>
                  <a:pt x="1658" y="406"/>
                  <a:pt x="1658" y="406"/>
                </a:cubicBezTo>
                <a:cubicBezTo>
                  <a:pt x="1677" y="390"/>
                  <a:pt x="1677" y="390"/>
                  <a:pt x="1677" y="390"/>
                </a:cubicBezTo>
                <a:cubicBezTo>
                  <a:pt x="1697" y="406"/>
                  <a:pt x="1697" y="406"/>
                  <a:pt x="1697" y="406"/>
                </a:cubicBezTo>
                <a:cubicBezTo>
                  <a:pt x="1727" y="406"/>
                  <a:pt x="1727" y="406"/>
                  <a:pt x="1727" y="406"/>
                </a:cubicBezTo>
                <a:cubicBezTo>
                  <a:pt x="1727" y="431"/>
                  <a:pt x="1727" y="431"/>
                  <a:pt x="1727" y="431"/>
                </a:cubicBezTo>
                <a:cubicBezTo>
                  <a:pt x="1747" y="431"/>
                  <a:pt x="1747" y="431"/>
                  <a:pt x="1747" y="431"/>
                </a:cubicBezTo>
                <a:cubicBezTo>
                  <a:pt x="1747" y="396"/>
                  <a:pt x="1747" y="396"/>
                  <a:pt x="1747" y="396"/>
                </a:cubicBezTo>
                <a:cubicBezTo>
                  <a:pt x="1768" y="375"/>
                  <a:pt x="1768" y="375"/>
                  <a:pt x="1768" y="375"/>
                </a:cubicBezTo>
                <a:cubicBezTo>
                  <a:pt x="1768" y="355"/>
                  <a:pt x="1768" y="355"/>
                  <a:pt x="1768" y="355"/>
                </a:cubicBezTo>
                <a:cubicBezTo>
                  <a:pt x="1793" y="355"/>
                  <a:pt x="1793" y="355"/>
                  <a:pt x="1793" y="355"/>
                </a:cubicBezTo>
                <a:cubicBezTo>
                  <a:pt x="1823" y="329"/>
                  <a:pt x="1823" y="329"/>
                  <a:pt x="1823" y="329"/>
                </a:cubicBezTo>
                <a:cubicBezTo>
                  <a:pt x="1926" y="329"/>
                  <a:pt x="1926" y="329"/>
                  <a:pt x="1926" y="329"/>
                </a:cubicBezTo>
                <a:cubicBezTo>
                  <a:pt x="1926" y="307"/>
                  <a:pt x="1926" y="307"/>
                  <a:pt x="1926" y="307"/>
                </a:cubicBezTo>
                <a:cubicBezTo>
                  <a:pt x="1918" y="307"/>
                  <a:pt x="1918" y="307"/>
                  <a:pt x="1918" y="307"/>
                </a:cubicBezTo>
                <a:cubicBezTo>
                  <a:pt x="1918" y="271"/>
                  <a:pt x="1918" y="271"/>
                  <a:pt x="1918" y="271"/>
                </a:cubicBezTo>
                <a:cubicBezTo>
                  <a:pt x="1928" y="271"/>
                  <a:pt x="1928" y="271"/>
                  <a:pt x="1928" y="271"/>
                </a:cubicBezTo>
                <a:cubicBezTo>
                  <a:pt x="1928" y="244"/>
                  <a:pt x="1928" y="244"/>
                  <a:pt x="1928" y="244"/>
                </a:cubicBezTo>
                <a:cubicBezTo>
                  <a:pt x="1937" y="244"/>
                  <a:pt x="1937" y="244"/>
                  <a:pt x="1937" y="244"/>
                </a:cubicBezTo>
                <a:cubicBezTo>
                  <a:pt x="1937" y="272"/>
                  <a:pt x="1937" y="272"/>
                  <a:pt x="1937" y="272"/>
                </a:cubicBezTo>
                <a:cubicBezTo>
                  <a:pt x="1947" y="272"/>
                  <a:pt x="1947" y="272"/>
                  <a:pt x="1947" y="272"/>
                </a:cubicBezTo>
                <a:cubicBezTo>
                  <a:pt x="1947" y="306"/>
                  <a:pt x="1947" y="306"/>
                  <a:pt x="1947" y="306"/>
                </a:cubicBezTo>
                <a:cubicBezTo>
                  <a:pt x="1940" y="306"/>
                  <a:pt x="1940" y="306"/>
                  <a:pt x="1940" y="306"/>
                </a:cubicBezTo>
                <a:cubicBezTo>
                  <a:pt x="1940" y="329"/>
                  <a:pt x="1940" y="329"/>
                  <a:pt x="1940" y="329"/>
                </a:cubicBezTo>
                <a:cubicBezTo>
                  <a:pt x="1966" y="329"/>
                  <a:pt x="1966" y="329"/>
                  <a:pt x="1966" y="329"/>
                </a:cubicBezTo>
                <a:cubicBezTo>
                  <a:pt x="1994" y="375"/>
                  <a:pt x="1994" y="375"/>
                  <a:pt x="1994" y="375"/>
                </a:cubicBezTo>
                <a:cubicBezTo>
                  <a:pt x="2054" y="375"/>
                  <a:pt x="2054" y="375"/>
                  <a:pt x="2054" y="375"/>
                </a:cubicBezTo>
                <a:cubicBezTo>
                  <a:pt x="2054" y="329"/>
                  <a:pt x="2054" y="329"/>
                  <a:pt x="2054" y="329"/>
                </a:cubicBezTo>
                <a:cubicBezTo>
                  <a:pt x="2074" y="321"/>
                  <a:pt x="2074" y="321"/>
                  <a:pt x="2074" y="321"/>
                </a:cubicBezTo>
                <a:cubicBezTo>
                  <a:pt x="2074" y="258"/>
                  <a:pt x="2074" y="258"/>
                  <a:pt x="2074" y="258"/>
                </a:cubicBezTo>
                <a:cubicBezTo>
                  <a:pt x="2082" y="258"/>
                  <a:pt x="2082" y="258"/>
                  <a:pt x="2082" y="258"/>
                </a:cubicBezTo>
                <a:cubicBezTo>
                  <a:pt x="2082" y="166"/>
                  <a:pt x="2082" y="166"/>
                  <a:pt x="2082" y="166"/>
                </a:cubicBezTo>
                <a:cubicBezTo>
                  <a:pt x="2091" y="166"/>
                  <a:pt x="2091" y="166"/>
                  <a:pt x="2091" y="166"/>
                </a:cubicBezTo>
                <a:cubicBezTo>
                  <a:pt x="2091" y="104"/>
                  <a:pt x="2091" y="104"/>
                  <a:pt x="2091" y="104"/>
                </a:cubicBezTo>
                <a:cubicBezTo>
                  <a:pt x="2103" y="104"/>
                  <a:pt x="2103" y="104"/>
                  <a:pt x="2103" y="104"/>
                </a:cubicBezTo>
                <a:cubicBezTo>
                  <a:pt x="2103" y="83"/>
                  <a:pt x="2103" y="83"/>
                  <a:pt x="2103" y="83"/>
                </a:cubicBezTo>
                <a:cubicBezTo>
                  <a:pt x="2103" y="83"/>
                  <a:pt x="2103" y="58"/>
                  <a:pt x="2129" y="58"/>
                </a:cubicBezTo>
                <a:cubicBezTo>
                  <a:pt x="2154" y="58"/>
                  <a:pt x="2156" y="83"/>
                  <a:pt x="2156" y="83"/>
                </a:cubicBezTo>
                <a:cubicBezTo>
                  <a:pt x="2156" y="104"/>
                  <a:pt x="2156" y="104"/>
                  <a:pt x="2156" y="104"/>
                </a:cubicBezTo>
                <a:cubicBezTo>
                  <a:pt x="2164" y="104"/>
                  <a:pt x="2164" y="104"/>
                  <a:pt x="2164" y="104"/>
                </a:cubicBezTo>
                <a:cubicBezTo>
                  <a:pt x="2164" y="164"/>
                  <a:pt x="2164" y="164"/>
                  <a:pt x="2164" y="164"/>
                </a:cubicBezTo>
                <a:cubicBezTo>
                  <a:pt x="2171" y="164"/>
                  <a:pt x="2171" y="164"/>
                  <a:pt x="2171" y="164"/>
                </a:cubicBezTo>
                <a:cubicBezTo>
                  <a:pt x="2171" y="257"/>
                  <a:pt x="2171" y="257"/>
                  <a:pt x="2171" y="257"/>
                </a:cubicBezTo>
                <a:cubicBezTo>
                  <a:pt x="2180" y="257"/>
                  <a:pt x="2180" y="257"/>
                  <a:pt x="2180" y="257"/>
                </a:cubicBezTo>
                <a:cubicBezTo>
                  <a:pt x="2180" y="164"/>
                  <a:pt x="2180" y="164"/>
                  <a:pt x="2180" y="164"/>
                </a:cubicBezTo>
                <a:cubicBezTo>
                  <a:pt x="2183" y="164"/>
                  <a:pt x="2183" y="164"/>
                  <a:pt x="2183" y="164"/>
                </a:cubicBezTo>
                <a:cubicBezTo>
                  <a:pt x="2183" y="104"/>
                  <a:pt x="2183" y="104"/>
                  <a:pt x="2183" y="104"/>
                </a:cubicBezTo>
                <a:cubicBezTo>
                  <a:pt x="2197" y="104"/>
                  <a:pt x="2197" y="104"/>
                  <a:pt x="2197" y="104"/>
                </a:cubicBezTo>
                <a:cubicBezTo>
                  <a:pt x="2197" y="83"/>
                  <a:pt x="2197" y="83"/>
                  <a:pt x="2197" y="83"/>
                </a:cubicBezTo>
                <a:cubicBezTo>
                  <a:pt x="2197" y="83"/>
                  <a:pt x="2197" y="58"/>
                  <a:pt x="2222" y="58"/>
                </a:cubicBezTo>
                <a:cubicBezTo>
                  <a:pt x="2248" y="58"/>
                  <a:pt x="2250" y="83"/>
                  <a:pt x="2250" y="83"/>
                </a:cubicBezTo>
                <a:cubicBezTo>
                  <a:pt x="2250" y="104"/>
                  <a:pt x="2250" y="104"/>
                  <a:pt x="2250" y="104"/>
                </a:cubicBezTo>
                <a:cubicBezTo>
                  <a:pt x="2256" y="104"/>
                  <a:pt x="2256" y="104"/>
                  <a:pt x="2256" y="104"/>
                </a:cubicBezTo>
                <a:cubicBezTo>
                  <a:pt x="2256" y="167"/>
                  <a:pt x="2256" y="167"/>
                  <a:pt x="2256" y="167"/>
                </a:cubicBezTo>
                <a:cubicBezTo>
                  <a:pt x="2264" y="167"/>
                  <a:pt x="2264" y="167"/>
                  <a:pt x="2264" y="167"/>
                </a:cubicBezTo>
                <a:cubicBezTo>
                  <a:pt x="2264" y="258"/>
                  <a:pt x="2264" y="258"/>
                  <a:pt x="2264" y="258"/>
                </a:cubicBezTo>
                <a:cubicBezTo>
                  <a:pt x="2406" y="258"/>
                  <a:pt x="2406" y="258"/>
                  <a:pt x="2406" y="258"/>
                </a:cubicBezTo>
                <a:cubicBezTo>
                  <a:pt x="2406" y="241"/>
                  <a:pt x="2406" y="241"/>
                  <a:pt x="2406" y="241"/>
                </a:cubicBezTo>
                <a:cubicBezTo>
                  <a:pt x="2396" y="241"/>
                  <a:pt x="2396" y="241"/>
                  <a:pt x="2396" y="241"/>
                </a:cubicBezTo>
                <a:cubicBezTo>
                  <a:pt x="2396" y="230"/>
                  <a:pt x="2396" y="230"/>
                  <a:pt x="2396" y="230"/>
                </a:cubicBezTo>
                <a:cubicBezTo>
                  <a:pt x="2406" y="230"/>
                  <a:pt x="2406" y="230"/>
                  <a:pt x="2406" y="230"/>
                </a:cubicBezTo>
                <a:cubicBezTo>
                  <a:pt x="2406" y="192"/>
                  <a:pt x="2406" y="192"/>
                  <a:pt x="2406" y="192"/>
                </a:cubicBezTo>
                <a:cubicBezTo>
                  <a:pt x="2413" y="192"/>
                  <a:pt x="2413" y="192"/>
                  <a:pt x="2413" y="192"/>
                </a:cubicBezTo>
                <a:cubicBezTo>
                  <a:pt x="2413" y="158"/>
                  <a:pt x="2413" y="158"/>
                  <a:pt x="2413" y="158"/>
                </a:cubicBezTo>
                <a:cubicBezTo>
                  <a:pt x="2413" y="150"/>
                  <a:pt x="2413" y="150"/>
                  <a:pt x="2413" y="150"/>
                </a:cubicBezTo>
                <a:cubicBezTo>
                  <a:pt x="2424" y="150"/>
                  <a:pt x="2424" y="150"/>
                  <a:pt x="2424" y="150"/>
                </a:cubicBezTo>
                <a:cubicBezTo>
                  <a:pt x="2424" y="192"/>
                  <a:pt x="2424" y="192"/>
                  <a:pt x="2424" y="192"/>
                </a:cubicBezTo>
                <a:cubicBezTo>
                  <a:pt x="2429" y="192"/>
                  <a:pt x="2429" y="192"/>
                  <a:pt x="2429" y="192"/>
                </a:cubicBezTo>
                <a:cubicBezTo>
                  <a:pt x="2429" y="230"/>
                  <a:pt x="2429" y="230"/>
                  <a:pt x="2429" y="230"/>
                </a:cubicBezTo>
                <a:cubicBezTo>
                  <a:pt x="2442" y="230"/>
                  <a:pt x="2442" y="230"/>
                  <a:pt x="2442" y="230"/>
                </a:cubicBezTo>
                <a:cubicBezTo>
                  <a:pt x="2442" y="241"/>
                  <a:pt x="2442" y="241"/>
                  <a:pt x="2442" y="241"/>
                </a:cubicBezTo>
                <a:cubicBezTo>
                  <a:pt x="2429" y="241"/>
                  <a:pt x="2429" y="241"/>
                  <a:pt x="2429" y="241"/>
                </a:cubicBezTo>
                <a:cubicBezTo>
                  <a:pt x="2429" y="258"/>
                  <a:pt x="2429" y="258"/>
                  <a:pt x="2429" y="258"/>
                </a:cubicBezTo>
                <a:cubicBezTo>
                  <a:pt x="2455" y="258"/>
                  <a:pt x="2455" y="258"/>
                  <a:pt x="2455" y="258"/>
                </a:cubicBezTo>
                <a:cubicBezTo>
                  <a:pt x="2482" y="286"/>
                  <a:pt x="2482" y="286"/>
                  <a:pt x="2482" y="286"/>
                </a:cubicBezTo>
                <a:cubicBezTo>
                  <a:pt x="2514" y="286"/>
                  <a:pt x="2514" y="286"/>
                  <a:pt x="2514" y="286"/>
                </a:cubicBezTo>
                <a:cubicBezTo>
                  <a:pt x="2514" y="333"/>
                  <a:pt x="2514" y="333"/>
                  <a:pt x="2514" y="333"/>
                </a:cubicBezTo>
                <a:cubicBezTo>
                  <a:pt x="2556" y="333"/>
                  <a:pt x="2556" y="333"/>
                  <a:pt x="2556" y="333"/>
                </a:cubicBezTo>
                <a:cubicBezTo>
                  <a:pt x="2556" y="363"/>
                  <a:pt x="2556" y="363"/>
                  <a:pt x="2556" y="363"/>
                </a:cubicBezTo>
                <a:cubicBezTo>
                  <a:pt x="2599" y="363"/>
                  <a:pt x="2599" y="363"/>
                  <a:pt x="2599" y="363"/>
                </a:cubicBezTo>
                <a:cubicBezTo>
                  <a:pt x="2599" y="343"/>
                  <a:pt x="2599" y="343"/>
                  <a:pt x="2599" y="343"/>
                </a:cubicBezTo>
                <a:cubicBezTo>
                  <a:pt x="2621" y="343"/>
                  <a:pt x="2621" y="343"/>
                  <a:pt x="2621" y="343"/>
                </a:cubicBezTo>
                <a:cubicBezTo>
                  <a:pt x="2673" y="391"/>
                  <a:pt x="2673" y="391"/>
                  <a:pt x="2673" y="391"/>
                </a:cubicBezTo>
                <a:cubicBezTo>
                  <a:pt x="2770" y="391"/>
                  <a:pt x="2770" y="391"/>
                  <a:pt x="2770" y="391"/>
                </a:cubicBezTo>
                <a:cubicBezTo>
                  <a:pt x="2770" y="363"/>
                  <a:pt x="2770" y="363"/>
                  <a:pt x="2770" y="363"/>
                </a:cubicBezTo>
                <a:cubicBezTo>
                  <a:pt x="2819" y="363"/>
                  <a:pt x="2819" y="363"/>
                  <a:pt x="2819" y="363"/>
                </a:cubicBezTo>
                <a:cubicBezTo>
                  <a:pt x="2819" y="453"/>
                  <a:pt x="2819" y="453"/>
                  <a:pt x="2819" y="453"/>
                </a:cubicBezTo>
                <a:cubicBezTo>
                  <a:pt x="2869" y="453"/>
                  <a:pt x="2869" y="453"/>
                  <a:pt x="2869" y="453"/>
                </a:cubicBezTo>
                <a:cubicBezTo>
                  <a:pt x="2869" y="423"/>
                  <a:pt x="2869" y="423"/>
                  <a:pt x="2869" y="423"/>
                </a:cubicBezTo>
                <a:cubicBezTo>
                  <a:pt x="2915" y="423"/>
                  <a:pt x="2915" y="423"/>
                  <a:pt x="2915" y="423"/>
                </a:cubicBezTo>
                <a:cubicBezTo>
                  <a:pt x="2915" y="545"/>
                  <a:pt x="2915" y="545"/>
                  <a:pt x="2915" y="545"/>
                </a:cubicBezTo>
                <a:cubicBezTo>
                  <a:pt x="1741" y="545"/>
                  <a:pt x="1741" y="545"/>
                  <a:pt x="1741" y="545"/>
                </a:cubicBezTo>
                <a:cubicBezTo>
                  <a:pt x="1741" y="527"/>
                  <a:pt x="1719" y="512"/>
                  <a:pt x="1692" y="512"/>
                </a:cubicBezTo>
                <a:cubicBezTo>
                  <a:pt x="1664" y="512"/>
                  <a:pt x="1642" y="527"/>
                  <a:pt x="1642" y="545"/>
                </a:cubicBezTo>
                <a:cubicBezTo>
                  <a:pt x="1630" y="545"/>
                  <a:pt x="1630" y="545"/>
                  <a:pt x="1630" y="545"/>
                </a:cubicBezTo>
                <a:cubicBezTo>
                  <a:pt x="1630" y="527"/>
                  <a:pt x="1607" y="512"/>
                  <a:pt x="1580" y="512"/>
                </a:cubicBezTo>
                <a:cubicBezTo>
                  <a:pt x="1553" y="512"/>
                  <a:pt x="1531" y="527"/>
                  <a:pt x="1531" y="545"/>
                </a:cubicBezTo>
                <a:cubicBezTo>
                  <a:pt x="1511" y="545"/>
                  <a:pt x="1511" y="545"/>
                  <a:pt x="1511" y="545"/>
                </a:cubicBezTo>
                <a:cubicBezTo>
                  <a:pt x="1511" y="527"/>
                  <a:pt x="1489" y="512"/>
                  <a:pt x="1462" y="512"/>
                </a:cubicBezTo>
                <a:cubicBezTo>
                  <a:pt x="1435" y="512"/>
                  <a:pt x="1413" y="527"/>
                  <a:pt x="1413" y="545"/>
                </a:cubicBezTo>
                <a:cubicBezTo>
                  <a:pt x="1399" y="545"/>
                  <a:pt x="1399" y="545"/>
                  <a:pt x="1399" y="545"/>
                </a:cubicBezTo>
                <a:cubicBezTo>
                  <a:pt x="1399" y="527"/>
                  <a:pt x="1377" y="512"/>
                  <a:pt x="1350" y="512"/>
                </a:cubicBezTo>
                <a:cubicBezTo>
                  <a:pt x="1323" y="512"/>
                  <a:pt x="1301" y="527"/>
                  <a:pt x="1301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29"/>
                  <a:pt x="0" y="29"/>
                  <a:pt x="0" y="29"/>
                </a:cubicBezTo>
                <a:cubicBezTo>
                  <a:pt x="84" y="106"/>
                  <a:pt x="84" y="106"/>
                  <a:pt x="84" y="106"/>
                </a:cubicBezTo>
                <a:cubicBezTo>
                  <a:pt x="93" y="100"/>
                  <a:pt x="93" y="100"/>
                  <a:pt x="93" y="100"/>
                </a:cubicBezTo>
                <a:cubicBezTo>
                  <a:pt x="122" y="152"/>
                  <a:pt x="122" y="152"/>
                  <a:pt x="122" y="152"/>
                </a:cubicBezTo>
                <a:cubicBezTo>
                  <a:pt x="141" y="144"/>
                  <a:pt x="141" y="144"/>
                  <a:pt x="141" y="144"/>
                </a:cubicBezTo>
                <a:cubicBezTo>
                  <a:pt x="170" y="171"/>
                  <a:pt x="170" y="171"/>
                  <a:pt x="170" y="171"/>
                </a:cubicBezTo>
                <a:cubicBezTo>
                  <a:pt x="187" y="171"/>
                  <a:pt x="187" y="171"/>
                  <a:pt x="187" y="171"/>
                </a:cubicBezTo>
                <a:cubicBezTo>
                  <a:pt x="241" y="148"/>
                  <a:pt x="241" y="148"/>
                  <a:pt x="241" y="148"/>
                </a:cubicBezTo>
                <a:cubicBezTo>
                  <a:pt x="290" y="148"/>
                  <a:pt x="290" y="148"/>
                  <a:pt x="290" y="148"/>
                </a:cubicBezTo>
                <a:cubicBezTo>
                  <a:pt x="309" y="130"/>
                  <a:pt x="309" y="130"/>
                  <a:pt x="309" y="130"/>
                </a:cubicBezTo>
                <a:cubicBezTo>
                  <a:pt x="340" y="187"/>
                  <a:pt x="340" y="187"/>
                  <a:pt x="340" y="187"/>
                </a:cubicBezTo>
                <a:cubicBezTo>
                  <a:pt x="410" y="162"/>
                  <a:pt x="410" y="162"/>
                  <a:pt x="410" y="162"/>
                </a:cubicBezTo>
                <a:lnTo>
                  <a:pt x="490" y="259"/>
                </a:lnTo>
                <a:close/>
              </a:path>
            </a:pathLst>
          </a:custGeom>
          <a:solidFill>
            <a:schemeClr val="tx1">
              <a:alpha val="2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919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1221318" y="3357563"/>
            <a:ext cx="47857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21318" y="1770064"/>
            <a:ext cx="9766300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  <a:endParaRPr lang="en-GB" altLang="de-DE" noProof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21318" y="3590925"/>
            <a:ext cx="4785783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  <a:endParaRPr lang="en-GB" altLang="de-DE" noProof="0"/>
          </a:p>
        </p:txBody>
      </p:sp>
    </p:spTree>
    <p:extLst>
      <p:ext uri="{BB962C8B-B14F-4D97-AF65-F5344CB8AC3E}">
        <p14:creationId xmlns:p14="http://schemas.microsoft.com/office/powerpoint/2010/main" val="3082523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err="1"/>
              <a:t>Mastertitel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fld id="{8B03BE22-0403-424A-9D5A-EB0429EDEE27}" type="datetime1">
              <a:rPr lang="de-CH"/>
              <a:pPr>
                <a:defRPr/>
              </a:pPr>
              <a:t>24.07.2023</a:t>
            </a:fld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heSans Swisscom Light" panose="020B0300040303060204" pitchFamily="34" charset="0"/>
              </a:defRPr>
            </a:lvl1pPr>
          </a:lstStyle>
          <a:p>
            <a:fld id="{37278AF2-1EA1-497D-9BF6-DE9CF01DB9CA}" type="slidenum">
              <a:rPr lang="en-GB" altLang="de-DE"/>
              <a:pPr/>
              <a:t>‹#›</a:t>
            </a:fld>
            <a:endParaRPr lang="en-GB" altLang="de-DE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</a:p>
        </p:txBody>
      </p:sp>
    </p:spTree>
    <p:extLst>
      <p:ext uri="{BB962C8B-B14F-4D97-AF65-F5344CB8AC3E}">
        <p14:creationId xmlns:p14="http://schemas.microsoft.com/office/powerpoint/2010/main" val="1350938835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331BB88-B64E-4F87-B7BA-C7F0D5AA36CE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23477822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BA31BF8-EAAD-4C00-9914-890E882E5A62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34418940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1317" y="1771651"/>
            <a:ext cx="4783667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8184" y="1771651"/>
            <a:ext cx="4783667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3CA2120-0E62-4712-8D6B-4335EA1C6FC3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23097003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E54559B-B187-43E3-8564-19F38DFDB047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33111762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7EAE5C9-B0E1-4ECD-BCC7-FAE5CACE1137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16828643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5D48744-5288-45AD-AE5F-C3DB092490A5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67490021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5D8147-0AD4-429F-A157-199D6CFAC5AA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29031766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ACBF4F-1939-43FF-A860-0BFC513337AF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34365440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4ACF898-5135-498C-A034-5A8E2E980821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316090664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375651" y="269875"/>
            <a:ext cx="2616200" cy="585628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27051" y="269875"/>
            <a:ext cx="7645400" cy="585628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72E4D31-62A4-41C5-B846-56D70908F69E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24897958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fld id="{1FA1DF22-6CC5-493D-80A5-9F39113199D3}" type="datetime1">
              <a:rPr lang="de-CH"/>
              <a:pPr>
                <a:defRPr/>
              </a:pPr>
              <a:t>24.07.2023</a:t>
            </a:fld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heSans Swisscom Light" panose="020B0300040303060204" pitchFamily="34" charset="0"/>
              </a:defRPr>
            </a:lvl1pPr>
          </a:lstStyle>
          <a:p>
            <a:fld id="{6C8A606E-DB8A-49FE-BEFB-15194447AE71}" type="slidenum">
              <a:rPr lang="en-GB" altLang="de-DE"/>
              <a:pPr/>
              <a:t>‹#›</a:t>
            </a:fld>
            <a:endParaRPr lang="en-GB" altLang="de-DE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</a:p>
        </p:txBody>
      </p:sp>
    </p:spTree>
    <p:extLst>
      <p:ext uri="{BB962C8B-B14F-4D97-AF65-F5344CB8AC3E}">
        <p14:creationId xmlns:p14="http://schemas.microsoft.com/office/powerpoint/2010/main" val="3410240351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4" y="283"/>
            <a:ext cx="12190993" cy="685743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200151" y="1773238"/>
            <a:ext cx="8736276" cy="1584326"/>
          </a:xfrm>
          <a:prstGeom prst="rect">
            <a:avLst/>
          </a:prstGeom>
        </p:spPr>
        <p:txBody>
          <a:bodyPr bIns="126000" anchor="b"/>
          <a:lstStyle>
            <a:lvl1pPr marL="0" indent="0">
              <a:lnSpc>
                <a:spcPct val="90000"/>
              </a:lnSpc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560" y="5652279"/>
            <a:ext cx="1728000" cy="958960"/>
          </a:xfrm>
          <a:prstGeom prst="rect">
            <a:avLst/>
          </a:prstGeom>
        </p:spPr>
      </p:pic>
      <p:sp>
        <p:nvSpPr>
          <p:cNvPr id="9" name="Line 11"/>
          <p:cNvSpPr>
            <a:spLocks noChangeShapeType="1"/>
          </p:cNvSpPr>
          <p:nvPr userDrawn="1"/>
        </p:nvSpPr>
        <p:spPr bwMode="gray">
          <a:xfrm>
            <a:off x="1200152" y="3357563"/>
            <a:ext cx="489584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200151" y="3573464"/>
            <a:ext cx="4895848" cy="1223689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288"/>
              </a:spcBef>
              <a:buNone/>
              <a:defRPr sz="1200">
                <a:solidFill>
                  <a:schemeClr val="tx1"/>
                </a:solidFill>
              </a:defRPr>
            </a:lvl1pPr>
            <a:lvl2pPr marL="3175" indent="0" algn="l">
              <a:buNone/>
              <a:defRPr sz="1200">
                <a:solidFill>
                  <a:schemeClr val="tx1"/>
                </a:solidFill>
              </a:defRPr>
            </a:lvl2pPr>
            <a:lvl3pPr marL="3175" indent="0" algn="l">
              <a:buNone/>
              <a:defRPr sz="1200">
                <a:solidFill>
                  <a:schemeClr val="tx1"/>
                </a:solidFill>
              </a:defRPr>
            </a:lvl3pPr>
            <a:lvl4pPr marL="3175" indent="0" algn="l">
              <a:buNone/>
              <a:defRPr sz="1200">
                <a:solidFill>
                  <a:schemeClr val="tx1"/>
                </a:solidFill>
              </a:defRPr>
            </a:lvl4pPr>
            <a:lvl5pPr marL="3175" indent="0" algn="l">
              <a:buNone/>
              <a:defRPr sz="1200">
                <a:solidFill>
                  <a:schemeClr val="tx1"/>
                </a:solidFill>
              </a:defRPr>
            </a:lvl5pPr>
            <a:lvl6pPr marL="3175" indent="0" algn="l">
              <a:buNone/>
              <a:defRPr sz="1200">
                <a:solidFill>
                  <a:schemeClr val="tx1"/>
                </a:solidFill>
              </a:defRPr>
            </a:lvl6pPr>
            <a:lvl7pPr marL="3175" indent="0" algn="l">
              <a:buNone/>
              <a:defRPr sz="1200">
                <a:solidFill>
                  <a:schemeClr val="tx1"/>
                </a:solidFill>
              </a:defRPr>
            </a:lvl7pPr>
            <a:lvl8pPr marL="3175" indent="0" algn="l">
              <a:buNone/>
              <a:defRPr sz="1200">
                <a:solidFill>
                  <a:schemeClr val="tx1"/>
                </a:solidFill>
              </a:defRPr>
            </a:lvl8pPr>
            <a:lvl9pPr marL="3175" indent="0" algn="l">
              <a:buNone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3215320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1"/>
            <a:ext cx="10464800" cy="1152525"/>
          </a:xfrm>
          <a:prstGeom prst="rect">
            <a:avLst/>
          </a:prstGeom>
        </p:spPr>
        <p:txBody>
          <a:bodyPr tIns="0" rIns="0" bIns="108000"/>
          <a:lstStyle>
            <a:lvl1pPr marL="490538" indent="-490538">
              <a:defRPr>
                <a:latin typeface="+mj-lt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1200150" y="1772770"/>
            <a:ext cx="9791700" cy="4248618"/>
          </a:xfrm>
          <a:prstGeom prst="rect">
            <a:avLst/>
          </a:prstGeom>
        </p:spPr>
        <p:txBody>
          <a:bodyPr/>
          <a:lstStyle>
            <a:lvl1pPr marL="182563" indent="-182563">
              <a:defRPr/>
            </a:lvl1pPr>
            <a:lvl2pPr marL="539750" indent="-182563">
              <a:defRPr/>
            </a:lvl2pPr>
            <a:lvl3pPr marL="898525" indent="-184150">
              <a:defRPr/>
            </a:lvl3pPr>
            <a:lvl4pPr marL="1255713" indent="-184150">
              <a:defRPr/>
            </a:lvl4pPr>
            <a:lvl5pPr marL="1612900" indent="-174625"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C75F937F-578B-432D-B413-03DE4E4B2A9B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0441810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1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1200151" y="1773238"/>
            <a:ext cx="4799836" cy="424815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192014" y="1773238"/>
            <a:ext cx="4799837" cy="424815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524472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1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1200151" y="1773238"/>
            <a:ext cx="4799836" cy="424815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91251" y="1773238"/>
            <a:ext cx="4800600" cy="42481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</p:spTree>
    <p:extLst>
      <p:ext uri="{BB962C8B-B14F-4D97-AF65-F5344CB8AC3E}">
        <p14:creationId xmlns:p14="http://schemas.microsoft.com/office/powerpoint/2010/main" val="2203364699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1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1200151" y="1773238"/>
            <a:ext cx="4799836" cy="2303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182563" indent="-182563">
              <a:buClr>
                <a:schemeClr val="accent2"/>
              </a:buClr>
              <a:buFont typeface="Arial" pitchFamily="34" charset="0"/>
              <a:buChar char="•"/>
              <a:defRPr sz="1200"/>
            </a:lvl2pPr>
            <a:lvl3pPr marL="361950" indent="-184150">
              <a:defRPr sz="1200"/>
            </a:lvl3pPr>
            <a:lvl4pPr marL="536575" indent="-184150">
              <a:defRPr sz="1200"/>
            </a:lvl4pPr>
            <a:lvl5pPr marL="714375" indent="-182563">
              <a:defRPr sz="1200"/>
            </a:lvl5pPr>
            <a:lvl6pPr marL="714375" indent="-174625">
              <a:defRPr sz="1200"/>
            </a:lvl6pPr>
            <a:lvl7pPr marL="714375" indent="-174625">
              <a:defRPr sz="1200"/>
            </a:lvl7pPr>
            <a:lvl8pPr marL="714375" indent="-174625">
              <a:defRPr sz="1200"/>
            </a:lvl8pPr>
            <a:lvl9pPr marL="714375" indent="-174625">
              <a:defRPr sz="12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91251" y="1773238"/>
            <a:ext cx="4800600" cy="230385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943840" y="4220564"/>
            <a:ext cx="6048011" cy="24485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196143" y="4220564"/>
            <a:ext cx="3555671" cy="24485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</p:spTree>
    <p:extLst>
      <p:ext uri="{BB962C8B-B14F-4D97-AF65-F5344CB8AC3E}">
        <p14:creationId xmlns:p14="http://schemas.microsoft.com/office/powerpoint/2010/main" val="3677906620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1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E2ED10C-ECB2-4B41-A6C4-3496B8D66DB4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  <p:sp>
        <p:nvSpPr>
          <p:cNvPr id="8" name="Inhaltsplatzhalter 7"/>
          <p:cNvSpPr>
            <a:spLocks noGrp="1"/>
          </p:cNvSpPr>
          <p:nvPr>
            <p:ph sz="quarter" idx="17"/>
          </p:nvPr>
        </p:nvSpPr>
        <p:spPr>
          <a:xfrm>
            <a:off x="1200151" y="1773239"/>
            <a:ext cx="4800600" cy="208780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8"/>
          </p:nvPr>
        </p:nvSpPr>
        <p:spPr>
          <a:xfrm>
            <a:off x="6191251" y="1773239"/>
            <a:ext cx="4800600" cy="208780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Inhaltsplatzhalter 7"/>
          <p:cNvSpPr>
            <a:spLocks noGrp="1"/>
          </p:cNvSpPr>
          <p:nvPr>
            <p:ph sz="quarter" idx="19"/>
          </p:nvPr>
        </p:nvSpPr>
        <p:spPr>
          <a:xfrm>
            <a:off x="1200151" y="4005064"/>
            <a:ext cx="4800600" cy="201622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7" name="Inhaltsplatzhalter 7"/>
          <p:cNvSpPr>
            <a:spLocks noGrp="1"/>
          </p:cNvSpPr>
          <p:nvPr>
            <p:ph sz="quarter" idx="20"/>
          </p:nvPr>
        </p:nvSpPr>
        <p:spPr>
          <a:xfrm>
            <a:off x="6191251" y="4005064"/>
            <a:ext cx="4800600" cy="201622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79632554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Fügen Sie in diesen</a:t>
            </a:r>
            <a:br>
              <a:rPr lang="de-DE" noProof="0"/>
            </a:br>
            <a:r>
              <a:rPr lang="de-DE" noProof="0"/>
              <a:t>Bereich ein Bild ein.</a:t>
            </a:r>
          </a:p>
        </p:txBody>
      </p:sp>
    </p:spTree>
    <p:extLst>
      <p:ext uri="{BB962C8B-B14F-4D97-AF65-F5344CB8AC3E}">
        <p14:creationId xmlns:p14="http://schemas.microsoft.com/office/powerpoint/2010/main" val="1400737647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1"/>
            <a:ext cx="10464800" cy="11525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C9256D23-CF6F-4568-8D84-AFC419FB7476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181847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45AB295-D6C4-47D1-A1F8-2C867292F84F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3"/>
            <a:ext cx="762000" cy="422875"/>
          </a:xfrm>
          <a:prstGeom prst="rect">
            <a:avLst/>
          </a:prstGeom>
        </p:spPr>
      </p:pic>
      <p:sp>
        <p:nvSpPr>
          <p:cNvPr id="6" name="Line 13"/>
          <p:cNvSpPr>
            <a:spLocks noChangeShapeType="1"/>
          </p:cNvSpPr>
          <p:nvPr userDrawn="1"/>
        </p:nvSpPr>
        <p:spPr bwMode="gray">
          <a:xfrm>
            <a:off x="11567585" y="60212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569699" y="1412776"/>
            <a:ext cx="38295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5864584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45AB295-D6C4-47D1-A1F8-2C867292F84F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10464800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latin typeface="+mj-lt"/>
              </a:defRPr>
            </a:lvl1pPr>
            <a:lvl2pPr marL="536575" indent="-489600">
              <a:spcBef>
                <a:spcPts val="0"/>
              </a:spcBef>
              <a:buFont typeface="Arial" pitchFamily="34" charset="0"/>
              <a:buNone/>
              <a:defRPr sz="4400"/>
            </a:lvl2pPr>
            <a:lvl3pPr marL="536575" indent="-489600">
              <a:spcBef>
                <a:spcPts val="0"/>
              </a:spcBef>
              <a:buFont typeface="Arial" pitchFamily="34" charset="0"/>
              <a:buNone/>
              <a:defRPr sz="4400"/>
            </a:lvl3pPr>
            <a:lvl4pPr marL="0" indent="0">
              <a:buNone/>
              <a:defRPr sz="4400"/>
            </a:lvl4pPr>
            <a:lvl5pPr marL="536575" indent="-489600">
              <a:spcBef>
                <a:spcPts val="0"/>
              </a:spcBef>
              <a:buFont typeface="Arial" pitchFamily="34" charset="0"/>
              <a:buNone/>
              <a:defRPr sz="4400"/>
            </a:lvl5pPr>
            <a:lvl6pPr marL="536575" indent="-489600">
              <a:spcBef>
                <a:spcPts val="0"/>
              </a:spcBef>
              <a:buNone/>
              <a:defRPr sz="4400"/>
            </a:lvl6pPr>
            <a:lvl7pPr marL="536575" indent="-489600">
              <a:spcBef>
                <a:spcPts val="0"/>
              </a:spcBef>
              <a:buNone/>
              <a:defRPr sz="4400"/>
            </a:lvl7pPr>
            <a:lvl8pPr marL="536575" indent="-489600">
              <a:spcBef>
                <a:spcPts val="0"/>
              </a:spcBef>
              <a:buNone/>
              <a:defRPr sz="4400"/>
            </a:lvl8pPr>
            <a:lvl9pPr marL="536575" indent="-48960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98491" y="3356990"/>
            <a:ext cx="979336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030381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5"/>
            <a:ext cx="12192000" cy="6864351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sp>
        <p:nvSpPr>
          <p:cNvPr id="5" name="Freeform 6"/>
          <p:cNvSpPr>
            <a:spLocks/>
          </p:cNvSpPr>
          <p:nvPr userDrawn="1"/>
        </p:nvSpPr>
        <p:spPr bwMode="auto">
          <a:xfrm flipH="1">
            <a:off x="2" y="5243514"/>
            <a:ext cx="11004551" cy="1336675"/>
          </a:xfrm>
          <a:custGeom>
            <a:avLst/>
            <a:gdLst>
              <a:gd name="T0" fmla="*/ 2147483647 w 744"/>
              <a:gd name="T1" fmla="*/ 2147483647 h 134"/>
              <a:gd name="T2" fmla="*/ 2147483647 w 744"/>
              <a:gd name="T3" fmla="*/ 2147483647 h 134"/>
              <a:gd name="T4" fmla="*/ 2147483647 w 744"/>
              <a:gd name="T5" fmla="*/ 2147483647 h 134"/>
              <a:gd name="T6" fmla="*/ 2147483647 w 744"/>
              <a:gd name="T7" fmla="*/ 2147483647 h 134"/>
              <a:gd name="T8" fmla="*/ 2147483647 w 744"/>
              <a:gd name="T9" fmla="*/ 2147483647 h 134"/>
              <a:gd name="T10" fmla="*/ 2147483647 w 744"/>
              <a:gd name="T11" fmla="*/ 2147483647 h 134"/>
              <a:gd name="T12" fmla="*/ 2147483647 w 744"/>
              <a:gd name="T13" fmla="*/ 2147483647 h 134"/>
              <a:gd name="T14" fmla="*/ 2147483647 w 744"/>
              <a:gd name="T15" fmla="*/ 2147483647 h 134"/>
              <a:gd name="T16" fmla="*/ 2147483647 w 744"/>
              <a:gd name="T17" fmla="*/ 2147483647 h 134"/>
              <a:gd name="T18" fmla="*/ 2147483647 w 744"/>
              <a:gd name="T19" fmla="*/ 2147483647 h 134"/>
              <a:gd name="T20" fmla="*/ 2147483647 w 744"/>
              <a:gd name="T21" fmla="*/ 2147483647 h 134"/>
              <a:gd name="T22" fmla="*/ 2147483647 w 744"/>
              <a:gd name="T23" fmla="*/ 2147483647 h 134"/>
              <a:gd name="T24" fmla="*/ 2147483647 w 744"/>
              <a:gd name="T25" fmla="*/ 2147483647 h 134"/>
              <a:gd name="T26" fmla="*/ 2147483647 w 744"/>
              <a:gd name="T27" fmla="*/ 2147483647 h 134"/>
              <a:gd name="T28" fmla="*/ 2147483647 w 744"/>
              <a:gd name="T29" fmla="*/ 2147483647 h 134"/>
              <a:gd name="T30" fmla="*/ 2147483647 w 744"/>
              <a:gd name="T31" fmla="*/ 2147483647 h 134"/>
              <a:gd name="T32" fmla="*/ 2147483647 w 744"/>
              <a:gd name="T33" fmla="*/ 2147483647 h 134"/>
              <a:gd name="T34" fmla="*/ 2147483647 w 744"/>
              <a:gd name="T35" fmla="*/ 2147483647 h 134"/>
              <a:gd name="T36" fmla="*/ 2147483647 w 744"/>
              <a:gd name="T37" fmla="*/ 2147483647 h 134"/>
              <a:gd name="T38" fmla="*/ 2147483647 w 744"/>
              <a:gd name="T39" fmla="*/ 2147483647 h 134"/>
              <a:gd name="T40" fmla="*/ 2147483647 w 744"/>
              <a:gd name="T41" fmla="*/ 2147483647 h 134"/>
              <a:gd name="T42" fmla="*/ 2147483647 w 744"/>
              <a:gd name="T43" fmla="*/ 2147483647 h 134"/>
              <a:gd name="T44" fmla="*/ 2147483647 w 744"/>
              <a:gd name="T45" fmla="*/ 2147483647 h 134"/>
              <a:gd name="T46" fmla="*/ 2147483647 w 744"/>
              <a:gd name="T47" fmla="*/ 2147483647 h 134"/>
              <a:gd name="T48" fmla="*/ 2147483647 w 744"/>
              <a:gd name="T49" fmla="*/ 2147483647 h 134"/>
              <a:gd name="T50" fmla="*/ 2147483647 w 744"/>
              <a:gd name="T51" fmla="*/ 2147483647 h 134"/>
              <a:gd name="T52" fmla="*/ 2147483647 w 744"/>
              <a:gd name="T53" fmla="*/ 2147483647 h 134"/>
              <a:gd name="T54" fmla="*/ 2147483647 w 744"/>
              <a:gd name="T55" fmla="*/ 2147483647 h 134"/>
              <a:gd name="T56" fmla="*/ 2147483647 w 744"/>
              <a:gd name="T57" fmla="*/ 2147483647 h 134"/>
              <a:gd name="T58" fmla="*/ 2147483647 w 744"/>
              <a:gd name="T59" fmla="*/ 2147483647 h 134"/>
              <a:gd name="T60" fmla="*/ 2147483647 w 744"/>
              <a:gd name="T61" fmla="*/ 2147483647 h 134"/>
              <a:gd name="T62" fmla="*/ 2147483647 w 744"/>
              <a:gd name="T63" fmla="*/ 0 h 134"/>
              <a:gd name="T64" fmla="*/ 2147483647 w 744"/>
              <a:gd name="T65" fmla="*/ 2147483647 h 134"/>
              <a:gd name="T66" fmla="*/ 2147483647 w 744"/>
              <a:gd name="T67" fmla="*/ 2147483647 h 134"/>
              <a:gd name="T68" fmla="*/ 2147483647 w 744"/>
              <a:gd name="T69" fmla="*/ 0 h 134"/>
              <a:gd name="T70" fmla="*/ 2147483647 w 744"/>
              <a:gd name="T71" fmla="*/ 2147483647 h 134"/>
              <a:gd name="T72" fmla="*/ 2147483647 w 744"/>
              <a:gd name="T73" fmla="*/ 2147483647 h 134"/>
              <a:gd name="T74" fmla="*/ 2147483647 w 744"/>
              <a:gd name="T75" fmla="*/ 2147483647 h 134"/>
              <a:gd name="T76" fmla="*/ 2147483647 w 744"/>
              <a:gd name="T77" fmla="*/ 2147483647 h 134"/>
              <a:gd name="T78" fmla="*/ 2147483647 w 744"/>
              <a:gd name="T79" fmla="*/ 2147483647 h 134"/>
              <a:gd name="T80" fmla="*/ 2147483647 w 744"/>
              <a:gd name="T81" fmla="*/ 2147483647 h 134"/>
              <a:gd name="T82" fmla="*/ 0 w 744"/>
              <a:gd name="T83" fmla="*/ 2147483647 h 134"/>
              <a:gd name="T84" fmla="*/ 2147483647 w 744"/>
              <a:gd name="T85" fmla="*/ 2147483647 h 134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744" h="134">
                <a:moveTo>
                  <a:pt x="9" y="81"/>
                </a:moveTo>
                <a:lnTo>
                  <a:pt x="9" y="73"/>
                </a:lnTo>
                <a:lnTo>
                  <a:pt x="20" y="73"/>
                </a:lnTo>
                <a:lnTo>
                  <a:pt x="20" y="67"/>
                </a:lnTo>
                <a:lnTo>
                  <a:pt x="28" y="67"/>
                </a:lnTo>
                <a:lnTo>
                  <a:pt x="28" y="74"/>
                </a:lnTo>
                <a:lnTo>
                  <a:pt x="35" y="74"/>
                </a:lnTo>
                <a:lnTo>
                  <a:pt x="35" y="83"/>
                </a:lnTo>
                <a:lnTo>
                  <a:pt x="53" y="83"/>
                </a:lnTo>
                <a:lnTo>
                  <a:pt x="53" y="69"/>
                </a:lnTo>
                <a:lnTo>
                  <a:pt x="71" y="59"/>
                </a:lnTo>
                <a:lnTo>
                  <a:pt x="71" y="21"/>
                </a:lnTo>
                <a:lnTo>
                  <a:pt x="98" y="21"/>
                </a:lnTo>
                <a:lnTo>
                  <a:pt x="98" y="134"/>
                </a:lnTo>
                <a:lnTo>
                  <a:pt x="106" y="134"/>
                </a:lnTo>
                <a:lnTo>
                  <a:pt x="106" y="113"/>
                </a:lnTo>
                <a:lnTo>
                  <a:pt x="98" y="113"/>
                </a:lnTo>
                <a:lnTo>
                  <a:pt x="98" y="105"/>
                </a:lnTo>
                <a:lnTo>
                  <a:pt x="105" y="105"/>
                </a:lnTo>
                <a:lnTo>
                  <a:pt x="105" y="87"/>
                </a:lnTo>
                <a:lnTo>
                  <a:pt x="98" y="87"/>
                </a:lnTo>
                <a:lnTo>
                  <a:pt x="98" y="79"/>
                </a:lnTo>
                <a:lnTo>
                  <a:pt x="105" y="79"/>
                </a:lnTo>
                <a:lnTo>
                  <a:pt x="105" y="59"/>
                </a:lnTo>
                <a:lnTo>
                  <a:pt x="98" y="59"/>
                </a:lnTo>
                <a:lnTo>
                  <a:pt x="98" y="51"/>
                </a:lnTo>
                <a:lnTo>
                  <a:pt x="105" y="51"/>
                </a:lnTo>
                <a:lnTo>
                  <a:pt x="105" y="25"/>
                </a:lnTo>
                <a:lnTo>
                  <a:pt x="116" y="44"/>
                </a:lnTo>
                <a:lnTo>
                  <a:pt x="116" y="73"/>
                </a:lnTo>
                <a:lnTo>
                  <a:pt x="146" y="73"/>
                </a:lnTo>
                <a:lnTo>
                  <a:pt x="146" y="39"/>
                </a:lnTo>
                <a:lnTo>
                  <a:pt x="192" y="26"/>
                </a:lnTo>
                <a:lnTo>
                  <a:pt x="192" y="89"/>
                </a:lnTo>
                <a:lnTo>
                  <a:pt x="206" y="89"/>
                </a:lnTo>
                <a:lnTo>
                  <a:pt x="206" y="64"/>
                </a:lnTo>
                <a:lnTo>
                  <a:pt x="229" y="64"/>
                </a:lnTo>
                <a:lnTo>
                  <a:pt x="229" y="89"/>
                </a:lnTo>
                <a:lnTo>
                  <a:pt x="236" y="89"/>
                </a:lnTo>
                <a:lnTo>
                  <a:pt x="236" y="56"/>
                </a:lnTo>
                <a:lnTo>
                  <a:pt x="285" y="69"/>
                </a:lnTo>
                <a:lnTo>
                  <a:pt x="285" y="88"/>
                </a:lnTo>
                <a:lnTo>
                  <a:pt x="291" y="88"/>
                </a:lnTo>
                <a:lnTo>
                  <a:pt x="291" y="41"/>
                </a:lnTo>
                <a:lnTo>
                  <a:pt x="326" y="33"/>
                </a:lnTo>
                <a:lnTo>
                  <a:pt x="326" y="79"/>
                </a:lnTo>
                <a:lnTo>
                  <a:pt x="344" y="79"/>
                </a:lnTo>
                <a:lnTo>
                  <a:pt x="344" y="49"/>
                </a:lnTo>
                <a:lnTo>
                  <a:pt x="354" y="49"/>
                </a:lnTo>
                <a:lnTo>
                  <a:pt x="354" y="22"/>
                </a:lnTo>
                <a:lnTo>
                  <a:pt x="374" y="22"/>
                </a:lnTo>
                <a:lnTo>
                  <a:pt x="374" y="48"/>
                </a:lnTo>
                <a:lnTo>
                  <a:pt x="383" y="48"/>
                </a:lnTo>
                <a:lnTo>
                  <a:pt x="383" y="81"/>
                </a:lnTo>
                <a:lnTo>
                  <a:pt x="415" y="81"/>
                </a:lnTo>
                <a:lnTo>
                  <a:pt x="415" y="40"/>
                </a:lnTo>
                <a:lnTo>
                  <a:pt x="470" y="26"/>
                </a:lnTo>
                <a:lnTo>
                  <a:pt x="470" y="101"/>
                </a:lnTo>
                <a:lnTo>
                  <a:pt x="521" y="101"/>
                </a:lnTo>
                <a:lnTo>
                  <a:pt x="521" y="79"/>
                </a:lnTo>
                <a:lnTo>
                  <a:pt x="554" y="79"/>
                </a:lnTo>
                <a:lnTo>
                  <a:pt x="554" y="6"/>
                </a:lnTo>
                <a:lnTo>
                  <a:pt x="559" y="6"/>
                </a:lnTo>
                <a:lnTo>
                  <a:pt x="561" y="0"/>
                </a:lnTo>
                <a:lnTo>
                  <a:pt x="569" y="0"/>
                </a:lnTo>
                <a:lnTo>
                  <a:pt x="571" y="6"/>
                </a:lnTo>
                <a:lnTo>
                  <a:pt x="578" y="6"/>
                </a:lnTo>
                <a:lnTo>
                  <a:pt x="595" y="6"/>
                </a:lnTo>
                <a:lnTo>
                  <a:pt x="598" y="0"/>
                </a:lnTo>
                <a:lnTo>
                  <a:pt x="606" y="0"/>
                </a:lnTo>
                <a:lnTo>
                  <a:pt x="609" y="6"/>
                </a:lnTo>
                <a:lnTo>
                  <a:pt x="612" y="6"/>
                </a:lnTo>
                <a:lnTo>
                  <a:pt x="612" y="92"/>
                </a:lnTo>
                <a:lnTo>
                  <a:pt x="649" y="92"/>
                </a:lnTo>
                <a:lnTo>
                  <a:pt x="649" y="62"/>
                </a:lnTo>
                <a:lnTo>
                  <a:pt x="705" y="77"/>
                </a:lnTo>
                <a:lnTo>
                  <a:pt x="705" y="92"/>
                </a:lnTo>
                <a:lnTo>
                  <a:pt x="731" y="92"/>
                </a:lnTo>
                <a:lnTo>
                  <a:pt x="731" y="37"/>
                </a:lnTo>
                <a:lnTo>
                  <a:pt x="737" y="31"/>
                </a:lnTo>
                <a:lnTo>
                  <a:pt x="737" y="16"/>
                </a:lnTo>
                <a:lnTo>
                  <a:pt x="744" y="16"/>
                </a:lnTo>
                <a:lnTo>
                  <a:pt x="744" y="134"/>
                </a:lnTo>
                <a:lnTo>
                  <a:pt x="0" y="134"/>
                </a:lnTo>
                <a:lnTo>
                  <a:pt x="0" y="81"/>
                </a:lnTo>
                <a:lnTo>
                  <a:pt x="9" y="81"/>
                </a:lnTo>
                <a:close/>
              </a:path>
            </a:pathLst>
          </a:custGeom>
          <a:solidFill>
            <a:schemeClr val="tx1">
              <a:alpha val="23921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CH" sz="1800">
              <a:solidFill>
                <a:srgbClr val="001155"/>
              </a:solidFill>
            </a:endParaRPr>
          </a:p>
        </p:txBody>
      </p:sp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23"/>
            <a:ext cx="1056216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11059584" y="6084890"/>
            <a:ext cx="1056216" cy="37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1749760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02.05.2016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5AB295-D6C4-47D1-A1F8-2C867292F84F}" type="slidenum">
              <a:rPr lang="de-DE" smtClean="0">
                <a:solidFill>
                  <a:prstClr val="white"/>
                </a:solidFill>
              </a:rPr>
              <a:pPr/>
              <a:t>‹#›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>
                <a:solidFill>
                  <a:prstClr val="white"/>
                </a:solidFill>
              </a:rPr>
              <a:t>DCS Produkt in S-Stack und SAM-Stack</a:t>
            </a:r>
            <a:endParaRPr lang="de-DE">
              <a:solidFill>
                <a:prstClr val="white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10464800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2pPr>
            <a:lvl3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3pPr>
            <a:lvl4pPr marL="0" indent="0">
              <a:buNone/>
              <a:defRPr sz="4400"/>
            </a:lvl4pPr>
            <a:lvl5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5pPr>
            <a:lvl6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6pPr>
            <a:lvl7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7pPr>
            <a:lvl8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8pPr>
            <a:lvl9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98491" y="335699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gray">
          <a:xfrm>
            <a:off x="11567585" y="1412875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1" name="Line 13"/>
          <p:cNvSpPr>
            <a:spLocks noChangeShapeType="1"/>
          </p:cNvSpPr>
          <p:nvPr userDrawn="1"/>
        </p:nvSpPr>
        <p:spPr bwMode="gray">
          <a:xfrm>
            <a:off x="11567585" y="6021288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3"/>
            <a:ext cx="762000" cy="42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401818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02.05.2016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5AB295-D6C4-47D1-A1F8-2C867292F84F}" type="slidenum">
              <a:rPr lang="de-DE" smtClean="0">
                <a:solidFill>
                  <a:prstClr val="white"/>
                </a:solidFill>
              </a:rPr>
              <a:pPr/>
              <a:t>‹#›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>
                <a:solidFill>
                  <a:prstClr val="white"/>
                </a:solidFill>
              </a:rPr>
              <a:t>DCS Produkt in S-Stack und SAM-Stack</a:t>
            </a:r>
            <a:endParaRPr lang="de-DE">
              <a:solidFill>
                <a:prstClr val="white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10464800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2pPr>
            <a:lvl3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3pPr>
            <a:lvl4pPr marL="0" indent="0">
              <a:buNone/>
              <a:defRPr sz="4400"/>
            </a:lvl4pPr>
            <a:lvl5pPr marL="0" indent="-489600">
              <a:spcBef>
                <a:spcPts val="0"/>
              </a:spcBef>
              <a:buFont typeface="Arial" pitchFamily="34" charset="0"/>
              <a:buNone/>
              <a:defRPr sz="4400">
                <a:solidFill>
                  <a:schemeClr val="bg1"/>
                </a:solidFill>
              </a:defRPr>
            </a:lvl5pPr>
            <a:lvl6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6pPr>
            <a:lvl7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7pPr>
            <a:lvl8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8pPr>
            <a:lvl9pPr marL="0" indent="-489600"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gray">
          <a:xfrm flipV="1">
            <a:off x="1198491" y="335699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gray">
          <a:xfrm>
            <a:off x="11567585" y="1412875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1" name="Line 13"/>
          <p:cNvSpPr>
            <a:spLocks noChangeShapeType="1"/>
          </p:cNvSpPr>
          <p:nvPr userDrawn="1"/>
        </p:nvSpPr>
        <p:spPr bwMode="gray">
          <a:xfrm>
            <a:off x="11567585" y="6021288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prstClr val="white"/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3"/>
            <a:ext cx="762000" cy="42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748404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"/>
            </a:lvl1pPr>
          </a:lstStyle>
          <a:p>
            <a:r>
              <a:rPr lang="de-CH" noProof="0"/>
              <a:t>Platzieren Sie hier ein Bild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27051" y="1412875"/>
            <a:ext cx="5568951" cy="1944688"/>
          </a:xfrm>
          <a:prstGeom prst="rect">
            <a:avLst/>
          </a:prstGeom>
        </p:spPr>
        <p:txBody>
          <a:bodyPr bIns="0" anchor="ctr"/>
          <a:lstStyle>
            <a:lvl1pPr marL="490538" indent="-490538">
              <a:spcBef>
                <a:spcPts val="0"/>
              </a:spcBef>
              <a:buNone/>
              <a:defRPr sz="4400">
                <a:solidFill>
                  <a:schemeClr val="tx1"/>
                </a:solidFill>
                <a:latin typeface="+mj-lt"/>
              </a:defRPr>
            </a:lvl1pPr>
            <a:lvl2pPr marL="0" indent="-489600">
              <a:spcBef>
                <a:spcPts val="0"/>
              </a:spcBef>
              <a:buFont typeface="Arial" pitchFamily="34" charset="0"/>
              <a:buNone/>
              <a:defRPr sz="4400"/>
            </a:lvl2pPr>
            <a:lvl3pPr marL="0" indent="-489600">
              <a:spcBef>
                <a:spcPts val="0"/>
              </a:spcBef>
              <a:buFont typeface="Arial" pitchFamily="34" charset="0"/>
              <a:buNone/>
              <a:defRPr sz="4400"/>
            </a:lvl3pPr>
            <a:lvl4pPr marL="0" indent="0">
              <a:buNone/>
              <a:defRPr sz="4400"/>
            </a:lvl4pPr>
            <a:lvl5pPr marL="0" indent="-489600">
              <a:spcBef>
                <a:spcPts val="0"/>
              </a:spcBef>
              <a:buFont typeface="Arial" pitchFamily="34" charset="0"/>
              <a:buNone/>
              <a:defRPr sz="4400"/>
            </a:lvl5pPr>
            <a:lvl6pPr marL="0" indent="-489600">
              <a:spcBef>
                <a:spcPts val="0"/>
              </a:spcBef>
              <a:buNone/>
              <a:defRPr sz="4400"/>
            </a:lvl6pPr>
            <a:lvl7pPr marL="0" indent="-489600">
              <a:spcBef>
                <a:spcPts val="0"/>
              </a:spcBef>
              <a:buNone/>
              <a:defRPr sz="4400"/>
            </a:lvl7pPr>
            <a:lvl8pPr marL="0" indent="-489600">
              <a:spcBef>
                <a:spcPts val="0"/>
              </a:spcBef>
              <a:buNone/>
              <a:defRPr sz="4400"/>
            </a:lvl8pPr>
            <a:lvl9pPr marL="0" indent="-48960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 bwMode="gray">
          <a:xfrm>
            <a:off x="1198034" y="3860801"/>
            <a:ext cx="4897967" cy="1368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1209617" y="1407958"/>
            <a:ext cx="4876800" cy="36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miter lim="800000"/>
          </a:ln>
        </p:spPr>
        <p:txBody>
          <a:bodyPr anchor="ctr"/>
          <a:lstStyle>
            <a:lvl1pPr marL="0" indent="0">
              <a:buNone/>
              <a:defRPr sz="100" baseline="0"/>
            </a:lvl1pPr>
          </a:lstStyle>
          <a:p>
            <a:r>
              <a:rPr lang="en-GB"/>
              <a:t> </a:t>
            </a:r>
          </a:p>
        </p:txBody>
      </p:sp>
      <p:sp>
        <p:nvSpPr>
          <p:cNvPr id="9" name="Bildplatzhalter 1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1209617" y="3357563"/>
            <a:ext cx="4876800" cy="36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miter lim="800000"/>
          </a:ln>
        </p:spPr>
        <p:txBody>
          <a:bodyPr anchor="ctr"/>
          <a:lstStyle>
            <a:lvl1pPr marL="0" indent="0">
              <a:buNone/>
              <a:defRPr sz="100"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75387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227" y="260562"/>
            <a:ext cx="10465453" cy="1152159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4152B43-0D93-45A1-BE43-5405A99BCA7F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1200152" y="1773238"/>
            <a:ext cx="4895849" cy="4392612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 u="sng"/>
            </a:lvl3pPr>
            <a:lvl4pPr marL="0" indent="0">
              <a:buNone/>
              <a:defRPr sz="1200"/>
            </a:lvl4pPr>
            <a:lvl5pPr marL="0" indent="0">
              <a:buFont typeface="Arial" pitchFamily="34" charset="0"/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4141285450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auf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27051" y="260351"/>
            <a:ext cx="10464800" cy="11525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02.05.2016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152B43-0D93-45A1-BE43-5405A99BCA7F}" type="slidenum">
              <a:rPr lang="de-DE" smtClean="0">
                <a:solidFill>
                  <a:prstClr val="white"/>
                </a:solidFill>
              </a:rPr>
              <a:pPr/>
              <a:t>‹#›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>
                <a:solidFill>
                  <a:prstClr val="white"/>
                </a:solidFill>
              </a:rPr>
              <a:t>DCS Produkt in S-Stack und SAM-Stack</a:t>
            </a:r>
            <a:endParaRPr lang="de-DE">
              <a:solidFill>
                <a:prstClr val="white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1200152" y="1773238"/>
            <a:ext cx="4895849" cy="4392612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None/>
              <a:defRPr sz="1200" u="sng">
                <a:solidFill>
                  <a:schemeClr val="bg1"/>
                </a:solidFill>
              </a:defRPr>
            </a:lvl3pPr>
            <a:lvl4pPr marL="0" indent="0">
              <a:buNone/>
              <a:defRPr sz="1200"/>
            </a:lvl4pPr>
            <a:lvl5pPr marL="0" indent="0">
              <a:buFont typeface="Arial" pitchFamily="34" charset="0"/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 userDrawn="1"/>
        </p:nvSpPr>
        <p:spPr bwMode="gray">
          <a:xfrm>
            <a:off x="11567585" y="1412875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11" name="Line 13"/>
          <p:cNvSpPr>
            <a:spLocks noChangeShapeType="1"/>
          </p:cNvSpPr>
          <p:nvPr userDrawn="1"/>
        </p:nvSpPr>
        <p:spPr bwMode="gray">
          <a:xfrm>
            <a:off x="11567585" y="6021288"/>
            <a:ext cx="385233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3"/>
            <a:ext cx="762000" cy="42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424409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1221318" y="3357563"/>
            <a:ext cx="47857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400">
              <a:solidFill>
                <a:srgbClr val="001155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21318" y="1770064"/>
            <a:ext cx="9766300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/>
              <a:t>Titelmasterformat durch Klicken bearbeiten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21318" y="3590925"/>
            <a:ext cx="4785783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0306778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A0F702-B273-45BA-B7F3-9EFAFA12B97D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8217F8-D86A-45A2-8C1C-FA18F320AFE8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30624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62743B-7990-49FF-A91D-0024DEAF61F0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5782BB-B23A-4D49-8F00-8DD27325E86E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003405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33148D-D705-49A6-84A3-BAD08DE50FE5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6CCBED9-E6FE-4EA0-9069-28C2A5EF93F0}" type="slidenum">
              <a:rPr lang="en-GB" smtClean="0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54365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1317" y="1771651"/>
            <a:ext cx="4783667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8184" y="1771651"/>
            <a:ext cx="4783667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7E6794-69ED-40E4-B0D2-8962ABBEE52E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DA455E-EB6E-4703-B493-ACD6F48CAF39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1548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5"/>
            <a:ext cx="12192000" cy="6864351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23"/>
            <a:ext cx="1056216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11059584" y="6084890"/>
            <a:ext cx="1056216" cy="37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0"/>
          <p:cNvGrpSpPr>
            <a:grpSpLocks noChangeAspect="1"/>
          </p:cNvGrpSpPr>
          <p:nvPr userDrawn="1"/>
        </p:nvGrpSpPr>
        <p:grpSpPr bwMode="auto">
          <a:xfrm>
            <a:off x="-9950" y="4677851"/>
            <a:ext cx="11014499" cy="1901375"/>
            <a:chOff x="-18109" y="-2668"/>
            <a:chExt cx="41974" cy="9661"/>
          </a:xfrm>
          <a:solidFill>
            <a:schemeClr val="tx1">
              <a:alpha val="29000"/>
            </a:schemeClr>
          </a:solidFill>
        </p:grpSpPr>
        <p:sp>
          <p:nvSpPr>
            <p:cNvPr id="8" name="Freeform 11"/>
            <p:cNvSpPr>
              <a:spLocks/>
            </p:cNvSpPr>
            <p:nvPr/>
          </p:nvSpPr>
          <p:spPr bwMode="auto">
            <a:xfrm>
              <a:off x="-3747" y="4936"/>
              <a:ext cx="626" cy="1383"/>
            </a:xfrm>
            <a:custGeom>
              <a:avLst/>
              <a:gdLst>
                <a:gd name="T0" fmla="*/ 149 w 626"/>
                <a:gd name="T1" fmla="*/ 1383 h 1383"/>
                <a:gd name="T2" fmla="*/ 149 w 626"/>
                <a:gd name="T3" fmla="*/ 1052 h 1383"/>
                <a:gd name="T4" fmla="*/ 229 w 626"/>
                <a:gd name="T5" fmla="*/ 1052 h 1383"/>
                <a:gd name="T6" fmla="*/ 229 w 626"/>
                <a:gd name="T7" fmla="*/ 664 h 1383"/>
                <a:gd name="T8" fmla="*/ 123 w 626"/>
                <a:gd name="T9" fmla="*/ 664 h 1383"/>
                <a:gd name="T10" fmla="*/ 123 w 626"/>
                <a:gd name="T11" fmla="*/ 371 h 1383"/>
                <a:gd name="T12" fmla="*/ 0 w 626"/>
                <a:gd name="T13" fmla="*/ 371 h 1383"/>
                <a:gd name="T14" fmla="*/ 229 w 626"/>
                <a:gd name="T15" fmla="*/ 160 h 1383"/>
                <a:gd name="T16" fmla="*/ 229 w 626"/>
                <a:gd name="T17" fmla="*/ 0 h 1383"/>
                <a:gd name="T18" fmla="*/ 385 w 626"/>
                <a:gd name="T19" fmla="*/ 0 h 1383"/>
                <a:gd name="T20" fmla="*/ 385 w 626"/>
                <a:gd name="T21" fmla="*/ 203 h 1383"/>
                <a:gd name="T22" fmla="*/ 465 w 626"/>
                <a:gd name="T23" fmla="*/ 274 h 1383"/>
                <a:gd name="T24" fmla="*/ 465 w 626"/>
                <a:gd name="T25" fmla="*/ 482 h 1383"/>
                <a:gd name="T26" fmla="*/ 626 w 626"/>
                <a:gd name="T27" fmla="*/ 503 h 1383"/>
                <a:gd name="T28" fmla="*/ 595 w 626"/>
                <a:gd name="T29" fmla="*/ 617 h 1383"/>
                <a:gd name="T30" fmla="*/ 465 w 626"/>
                <a:gd name="T31" fmla="*/ 692 h 1383"/>
                <a:gd name="T32" fmla="*/ 465 w 626"/>
                <a:gd name="T33" fmla="*/ 1056 h 1383"/>
                <a:gd name="T34" fmla="*/ 574 w 626"/>
                <a:gd name="T35" fmla="*/ 1052 h 1383"/>
                <a:gd name="T36" fmla="*/ 574 w 626"/>
                <a:gd name="T37" fmla="*/ 1383 h 1383"/>
                <a:gd name="T38" fmla="*/ 149 w 626"/>
                <a:gd name="T39" fmla="*/ 1383 h 1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6" h="1383">
                  <a:moveTo>
                    <a:pt x="149" y="1383"/>
                  </a:moveTo>
                  <a:lnTo>
                    <a:pt x="149" y="1052"/>
                  </a:lnTo>
                  <a:lnTo>
                    <a:pt x="229" y="1052"/>
                  </a:lnTo>
                  <a:lnTo>
                    <a:pt x="229" y="664"/>
                  </a:lnTo>
                  <a:lnTo>
                    <a:pt x="123" y="664"/>
                  </a:lnTo>
                  <a:lnTo>
                    <a:pt x="123" y="371"/>
                  </a:lnTo>
                  <a:lnTo>
                    <a:pt x="0" y="371"/>
                  </a:lnTo>
                  <a:lnTo>
                    <a:pt x="229" y="160"/>
                  </a:lnTo>
                  <a:lnTo>
                    <a:pt x="229" y="0"/>
                  </a:lnTo>
                  <a:lnTo>
                    <a:pt x="385" y="0"/>
                  </a:lnTo>
                  <a:lnTo>
                    <a:pt x="385" y="203"/>
                  </a:lnTo>
                  <a:lnTo>
                    <a:pt x="465" y="274"/>
                  </a:lnTo>
                  <a:lnTo>
                    <a:pt x="465" y="482"/>
                  </a:lnTo>
                  <a:lnTo>
                    <a:pt x="626" y="503"/>
                  </a:lnTo>
                  <a:lnTo>
                    <a:pt x="595" y="617"/>
                  </a:lnTo>
                  <a:lnTo>
                    <a:pt x="465" y="692"/>
                  </a:lnTo>
                  <a:lnTo>
                    <a:pt x="465" y="1056"/>
                  </a:lnTo>
                  <a:lnTo>
                    <a:pt x="574" y="1052"/>
                  </a:lnTo>
                  <a:lnTo>
                    <a:pt x="574" y="1383"/>
                  </a:lnTo>
                  <a:lnTo>
                    <a:pt x="149" y="13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  <p:sp>
          <p:nvSpPr>
            <p:cNvPr id="9" name="Rectangle 12"/>
            <p:cNvSpPr>
              <a:spLocks noChangeArrowheads="1"/>
            </p:cNvSpPr>
            <p:nvPr/>
          </p:nvSpPr>
          <p:spPr bwMode="auto">
            <a:xfrm>
              <a:off x="-628" y="-2668"/>
              <a:ext cx="85" cy="76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  <p:sp>
          <p:nvSpPr>
            <p:cNvPr id="10" name="Rectangle 13"/>
            <p:cNvSpPr>
              <a:spLocks noChangeArrowheads="1"/>
            </p:cNvSpPr>
            <p:nvPr/>
          </p:nvSpPr>
          <p:spPr bwMode="auto">
            <a:xfrm>
              <a:off x="2067" y="-2663"/>
              <a:ext cx="85" cy="76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  <p:sp>
          <p:nvSpPr>
            <p:cNvPr id="11" name="Freeform 14"/>
            <p:cNvSpPr>
              <a:spLocks noEditPoints="1"/>
            </p:cNvSpPr>
            <p:nvPr/>
          </p:nvSpPr>
          <p:spPr bwMode="auto">
            <a:xfrm>
              <a:off x="-18109" y="-2065"/>
              <a:ext cx="41974" cy="9058"/>
            </a:xfrm>
            <a:custGeom>
              <a:avLst/>
              <a:gdLst>
                <a:gd name="T0" fmla="*/ 17047 w 17766"/>
                <a:gd name="T1" fmla="*/ 2902 h 3831"/>
                <a:gd name="T2" fmla="*/ 16779 w 17766"/>
                <a:gd name="T3" fmla="*/ 2752 h 3831"/>
                <a:gd name="T4" fmla="*/ 15890 w 17766"/>
                <a:gd name="T5" fmla="*/ 3227 h 3831"/>
                <a:gd name="T6" fmla="*/ 15733 w 17766"/>
                <a:gd name="T7" fmla="*/ 2939 h 3831"/>
                <a:gd name="T8" fmla="*/ 15029 w 17766"/>
                <a:gd name="T9" fmla="*/ 2963 h 3831"/>
                <a:gd name="T10" fmla="*/ 14436 w 17766"/>
                <a:gd name="T11" fmla="*/ 1243 h 3831"/>
                <a:gd name="T12" fmla="*/ 13194 w 17766"/>
                <a:gd name="T13" fmla="*/ 2613 h 3831"/>
                <a:gd name="T14" fmla="*/ 12928 w 17766"/>
                <a:gd name="T15" fmla="*/ 243 h 3831"/>
                <a:gd name="T16" fmla="*/ 12426 w 17766"/>
                <a:gd name="T17" fmla="*/ 2273 h 3831"/>
                <a:gd name="T18" fmla="*/ 11923 w 17766"/>
                <a:gd name="T19" fmla="*/ 3499 h 3831"/>
                <a:gd name="T20" fmla="*/ 11779 w 17766"/>
                <a:gd name="T21" fmla="*/ 2787 h 3831"/>
                <a:gd name="T22" fmla="*/ 11733 w 17766"/>
                <a:gd name="T23" fmla="*/ 2587 h 3831"/>
                <a:gd name="T24" fmla="*/ 11620 w 17766"/>
                <a:gd name="T25" fmla="*/ 2661 h 3831"/>
                <a:gd name="T26" fmla="*/ 11671 w 17766"/>
                <a:gd name="T27" fmla="*/ 3499 h 3831"/>
                <a:gd name="T28" fmla="*/ 11366 w 17766"/>
                <a:gd name="T29" fmla="*/ 2787 h 3831"/>
                <a:gd name="T30" fmla="*/ 11322 w 17766"/>
                <a:gd name="T31" fmla="*/ 2584 h 3831"/>
                <a:gd name="T32" fmla="*/ 11213 w 17766"/>
                <a:gd name="T33" fmla="*/ 2661 h 3831"/>
                <a:gd name="T34" fmla="*/ 11256 w 17766"/>
                <a:gd name="T35" fmla="*/ 3499 h 3831"/>
                <a:gd name="T36" fmla="*/ 10789 w 17766"/>
                <a:gd name="T37" fmla="*/ 2072 h 3831"/>
                <a:gd name="T38" fmla="*/ 10354 w 17766"/>
                <a:gd name="T39" fmla="*/ 2072 h 3831"/>
                <a:gd name="T40" fmla="*/ 9178 w 17766"/>
                <a:gd name="T41" fmla="*/ 675 h 3831"/>
                <a:gd name="T42" fmla="*/ 8856 w 17766"/>
                <a:gd name="T43" fmla="*/ 2085 h 3831"/>
                <a:gd name="T44" fmla="*/ 8756 w 17766"/>
                <a:gd name="T45" fmla="*/ 531 h 3831"/>
                <a:gd name="T46" fmla="*/ 8344 w 17766"/>
                <a:gd name="T47" fmla="*/ 1077 h 3831"/>
                <a:gd name="T48" fmla="*/ 7722 w 17766"/>
                <a:gd name="T49" fmla="*/ 2273 h 3831"/>
                <a:gd name="T50" fmla="*/ 7620 w 17766"/>
                <a:gd name="T51" fmla="*/ 560 h 3831"/>
                <a:gd name="T52" fmla="*/ 7218 w 17766"/>
                <a:gd name="T53" fmla="*/ 1077 h 3831"/>
                <a:gd name="T54" fmla="*/ 6997 w 17766"/>
                <a:gd name="T55" fmla="*/ 2725 h 3831"/>
                <a:gd name="T56" fmla="*/ 6715 w 17766"/>
                <a:gd name="T57" fmla="*/ 2193 h 3831"/>
                <a:gd name="T58" fmla="*/ 6503 w 17766"/>
                <a:gd name="T59" fmla="*/ 2297 h 3831"/>
                <a:gd name="T60" fmla="*/ 6376 w 17766"/>
                <a:gd name="T61" fmla="*/ 2101 h 3831"/>
                <a:gd name="T62" fmla="*/ 6165 w 17766"/>
                <a:gd name="T63" fmla="*/ 2101 h 3831"/>
                <a:gd name="T64" fmla="*/ 5898 w 17766"/>
                <a:gd name="T65" fmla="*/ 2192 h 3831"/>
                <a:gd name="T66" fmla="*/ 5816 w 17766"/>
                <a:gd name="T67" fmla="*/ 2190 h 3831"/>
                <a:gd name="T68" fmla="*/ 5720 w 17766"/>
                <a:gd name="T69" fmla="*/ 2549 h 3831"/>
                <a:gd name="T70" fmla="*/ 5380 w 17766"/>
                <a:gd name="T71" fmla="*/ 1389 h 3831"/>
                <a:gd name="T72" fmla="*/ 5046 w 17766"/>
                <a:gd name="T73" fmla="*/ 1630 h 3831"/>
                <a:gd name="T74" fmla="*/ 4272 w 17766"/>
                <a:gd name="T75" fmla="*/ 2273 h 3831"/>
                <a:gd name="T76" fmla="*/ 3438 w 17766"/>
                <a:gd name="T77" fmla="*/ 2725 h 3831"/>
                <a:gd name="T78" fmla="*/ 3347 w 17766"/>
                <a:gd name="T79" fmla="*/ 3082 h 3831"/>
                <a:gd name="T80" fmla="*/ 2895 w 17766"/>
                <a:gd name="T81" fmla="*/ 2725 h 3831"/>
                <a:gd name="T82" fmla="*/ 2895 w 17766"/>
                <a:gd name="T83" fmla="*/ 1832 h 3831"/>
                <a:gd name="T84" fmla="*/ 2382 w 17766"/>
                <a:gd name="T85" fmla="*/ 1630 h 3831"/>
                <a:gd name="T86" fmla="*/ 2382 w 17766"/>
                <a:gd name="T87" fmla="*/ 2273 h 3831"/>
                <a:gd name="T88" fmla="*/ 1936 w 17766"/>
                <a:gd name="T89" fmla="*/ 2273 h 3831"/>
                <a:gd name="T90" fmla="*/ 661 w 17766"/>
                <a:gd name="T91" fmla="*/ 3073 h 3831"/>
                <a:gd name="T92" fmla="*/ 523 w 17766"/>
                <a:gd name="T93" fmla="*/ 3174 h 3831"/>
                <a:gd name="T94" fmla="*/ 0 w 17766"/>
                <a:gd name="T95" fmla="*/ 3831 h 3831"/>
                <a:gd name="T96" fmla="*/ 17305 w 17766"/>
                <a:gd name="T97" fmla="*/ 3626 h 3831"/>
                <a:gd name="T98" fmla="*/ 5954 w 17766"/>
                <a:gd name="T99" fmla="*/ 2990 h 3831"/>
                <a:gd name="T100" fmla="*/ 6477 w 17766"/>
                <a:gd name="T101" fmla="*/ 3499 h 3831"/>
                <a:gd name="T102" fmla="*/ 12932 w 17766"/>
                <a:gd name="T103" fmla="*/ 1554 h 3831"/>
                <a:gd name="T104" fmla="*/ 14731 w 17766"/>
                <a:gd name="T105" fmla="*/ 1722 h 3831"/>
                <a:gd name="T106" fmla="*/ 14946 w 17766"/>
                <a:gd name="T107" fmla="*/ 1507 h 3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766" h="3831">
                  <a:moveTo>
                    <a:pt x="17305" y="3626"/>
                  </a:moveTo>
                  <a:cubicBezTo>
                    <a:pt x="17305" y="2902"/>
                    <a:pt x="17305" y="2902"/>
                    <a:pt x="17305" y="2902"/>
                  </a:cubicBezTo>
                  <a:cubicBezTo>
                    <a:pt x="17047" y="2902"/>
                    <a:pt x="17047" y="2902"/>
                    <a:pt x="17047" y="2902"/>
                  </a:cubicBezTo>
                  <a:cubicBezTo>
                    <a:pt x="17047" y="3029"/>
                    <a:pt x="17047" y="3029"/>
                    <a:pt x="17047" y="3029"/>
                  </a:cubicBezTo>
                  <a:cubicBezTo>
                    <a:pt x="16779" y="3029"/>
                    <a:pt x="16779" y="3029"/>
                    <a:pt x="16779" y="3029"/>
                  </a:cubicBezTo>
                  <a:cubicBezTo>
                    <a:pt x="16779" y="2752"/>
                    <a:pt x="16779" y="2752"/>
                    <a:pt x="16779" y="2752"/>
                  </a:cubicBezTo>
                  <a:cubicBezTo>
                    <a:pt x="16290" y="2752"/>
                    <a:pt x="16290" y="2752"/>
                    <a:pt x="16290" y="2752"/>
                  </a:cubicBezTo>
                  <a:cubicBezTo>
                    <a:pt x="16290" y="3227"/>
                    <a:pt x="16290" y="3227"/>
                    <a:pt x="16290" y="3227"/>
                  </a:cubicBezTo>
                  <a:cubicBezTo>
                    <a:pt x="15890" y="3227"/>
                    <a:pt x="15890" y="3227"/>
                    <a:pt x="15890" y="3227"/>
                  </a:cubicBezTo>
                  <a:cubicBezTo>
                    <a:pt x="15890" y="3499"/>
                    <a:pt x="15890" y="3499"/>
                    <a:pt x="15890" y="3499"/>
                  </a:cubicBezTo>
                  <a:cubicBezTo>
                    <a:pt x="15733" y="3499"/>
                    <a:pt x="15733" y="3499"/>
                    <a:pt x="15733" y="3499"/>
                  </a:cubicBezTo>
                  <a:cubicBezTo>
                    <a:pt x="15733" y="2939"/>
                    <a:pt x="15733" y="2939"/>
                    <a:pt x="15733" y="2939"/>
                  </a:cubicBezTo>
                  <a:cubicBezTo>
                    <a:pt x="15572" y="2787"/>
                    <a:pt x="15572" y="2787"/>
                    <a:pt x="15572" y="2787"/>
                  </a:cubicBezTo>
                  <a:cubicBezTo>
                    <a:pt x="15165" y="2963"/>
                    <a:pt x="15165" y="2963"/>
                    <a:pt x="15165" y="2963"/>
                  </a:cubicBezTo>
                  <a:cubicBezTo>
                    <a:pt x="15029" y="2963"/>
                    <a:pt x="15029" y="2963"/>
                    <a:pt x="15029" y="2963"/>
                  </a:cubicBezTo>
                  <a:cubicBezTo>
                    <a:pt x="15029" y="1229"/>
                    <a:pt x="15029" y="1229"/>
                    <a:pt x="15029" y="1229"/>
                  </a:cubicBezTo>
                  <a:cubicBezTo>
                    <a:pt x="14944" y="857"/>
                    <a:pt x="14731" y="0"/>
                    <a:pt x="14731" y="0"/>
                  </a:cubicBezTo>
                  <a:cubicBezTo>
                    <a:pt x="14436" y="1243"/>
                    <a:pt x="14436" y="1243"/>
                    <a:pt x="14436" y="1243"/>
                  </a:cubicBezTo>
                  <a:cubicBezTo>
                    <a:pt x="14436" y="2273"/>
                    <a:pt x="14436" y="2273"/>
                    <a:pt x="14436" y="2273"/>
                  </a:cubicBezTo>
                  <a:cubicBezTo>
                    <a:pt x="13240" y="2273"/>
                    <a:pt x="13240" y="2273"/>
                    <a:pt x="13240" y="2273"/>
                  </a:cubicBezTo>
                  <a:cubicBezTo>
                    <a:pt x="13194" y="2613"/>
                    <a:pt x="13194" y="2613"/>
                    <a:pt x="13194" y="2613"/>
                  </a:cubicBezTo>
                  <a:cubicBezTo>
                    <a:pt x="13119" y="2613"/>
                    <a:pt x="13119" y="2613"/>
                    <a:pt x="13119" y="2613"/>
                  </a:cubicBezTo>
                  <a:cubicBezTo>
                    <a:pt x="13119" y="1363"/>
                    <a:pt x="13119" y="1363"/>
                    <a:pt x="13119" y="1363"/>
                  </a:cubicBezTo>
                  <a:cubicBezTo>
                    <a:pt x="13090" y="1200"/>
                    <a:pt x="12928" y="243"/>
                    <a:pt x="12928" y="243"/>
                  </a:cubicBezTo>
                  <a:cubicBezTo>
                    <a:pt x="12739" y="1367"/>
                    <a:pt x="12739" y="1367"/>
                    <a:pt x="12739" y="1367"/>
                  </a:cubicBezTo>
                  <a:cubicBezTo>
                    <a:pt x="12739" y="2273"/>
                    <a:pt x="12739" y="2273"/>
                    <a:pt x="12739" y="2273"/>
                  </a:cubicBezTo>
                  <a:cubicBezTo>
                    <a:pt x="12426" y="2273"/>
                    <a:pt x="12426" y="2273"/>
                    <a:pt x="12426" y="2273"/>
                  </a:cubicBezTo>
                  <a:cubicBezTo>
                    <a:pt x="12315" y="2156"/>
                    <a:pt x="12315" y="2156"/>
                    <a:pt x="12315" y="2156"/>
                  </a:cubicBezTo>
                  <a:cubicBezTo>
                    <a:pt x="11923" y="2575"/>
                    <a:pt x="11923" y="2575"/>
                    <a:pt x="11923" y="2575"/>
                  </a:cubicBezTo>
                  <a:cubicBezTo>
                    <a:pt x="11923" y="3499"/>
                    <a:pt x="11923" y="3499"/>
                    <a:pt x="11923" y="3499"/>
                  </a:cubicBezTo>
                  <a:cubicBezTo>
                    <a:pt x="11724" y="3499"/>
                    <a:pt x="11724" y="3499"/>
                    <a:pt x="11724" y="3499"/>
                  </a:cubicBezTo>
                  <a:cubicBezTo>
                    <a:pt x="11724" y="2787"/>
                    <a:pt x="11724" y="2787"/>
                    <a:pt x="11724" y="2787"/>
                  </a:cubicBezTo>
                  <a:cubicBezTo>
                    <a:pt x="11779" y="2787"/>
                    <a:pt x="11779" y="2787"/>
                    <a:pt x="11779" y="2787"/>
                  </a:cubicBezTo>
                  <a:cubicBezTo>
                    <a:pt x="11779" y="2661"/>
                    <a:pt x="11779" y="2661"/>
                    <a:pt x="11779" y="2661"/>
                  </a:cubicBezTo>
                  <a:cubicBezTo>
                    <a:pt x="11733" y="2661"/>
                    <a:pt x="11733" y="2661"/>
                    <a:pt x="11733" y="2661"/>
                  </a:cubicBezTo>
                  <a:cubicBezTo>
                    <a:pt x="11733" y="2587"/>
                    <a:pt x="11733" y="2587"/>
                    <a:pt x="11733" y="2587"/>
                  </a:cubicBezTo>
                  <a:cubicBezTo>
                    <a:pt x="11671" y="2587"/>
                    <a:pt x="11671" y="2587"/>
                    <a:pt x="11671" y="2587"/>
                  </a:cubicBezTo>
                  <a:cubicBezTo>
                    <a:pt x="11671" y="2661"/>
                    <a:pt x="11671" y="2661"/>
                    <a:pt x="11671" y="2661"/>
                  </a:cubicBezTo>
                  <a:cubicBezTo>
                    <a:pt x="11620" y="2661"/>
                    <a:pt x="11620" y="2661"/>
                    <a:pt x="11620" y="2661"/>
                  </a:cubicBezTo>
                  <a:cubicBezTo>
                    <a:pt x="11620" y="2787"/>
                    <a:pt x="11620" y="2787"/>
                    <a:pt x="11620" y="2787"/>
                  </a:cubicBezTo>
                  <a:cubicBezTo>
                    <a:pt x="11671" y="2787"/>
                    <a:pt x="11671" y="2787"/>
                    <a:pt x="11671" y="2787"/>
                  </a:cubicBezTo>
                  <a:cubicBezTo>
                    <a:pt x="11671" y="3499"/>
                    <a:pt x="11671" y="3499"/>
                    <a:pt x="11671" y="3499"/>
                  </a:cubicBezTo>
                  <a:cubicBezTo>
                    <a:pt x="11319" y="3499"/>
                    <a:pt x="11319" y="3499"/>
                    <a:pt x="11319" y="3499"/>
                  </a:cubicBezTo>
                  <a:cubicBezTo>
                    <a:pt x="11319" y="2787"/>
                    <a:pt x="11319" y="2787"/>
                    <a:pt x="11319" y="2787"/>
                  </a:cubicBezTo>
                  <a:cubicBezTo>
                    <a:pt x="11366" y="2787"/>
                    <a:pt x="11366" y="2787"/>
                    <a:pt x="11366" y="2787"/>
                  </a:cubicBezTo>
                  <a:cubicBezTo>
                    <a:pt x="11366" y="2661"/>
                    <a:pt x="11366" y="2661"/>
                    <a:pt x="11366" y="2661"/>
                  </a:cubicBezTo>
                  <a:cubicBezTo>
                    <a:pt x="11322" y="2661"/>
                    <a:pt x="11322" y="2661"/>
                    <a:pt x="11322" y="2661"/>
                  </a:cubicBezTo>
                  <a:cubicBezTo>
                    <a:pt x="11322" y="2584"/>
                    <a:pt x="11322" y="2584"/>
                    <a:pt x="11322" y="2584"/>
                  </a:cubicBezTo>
                  <a:cubicBezTo>
                    <a:pt x="11269" y="2584"/>
                    <a:pt x="11269" y="2584"/>
                    <a:pt x="11269" y="2584"/>
                  </a:cubicBezTo>
                  <a:cubicBezTo>
                    <a:pt x="11269" y="2661"/>
                    <a:pt x="11269" y="2661"/>
                    <a:pt x="11269" y="2661"/>
                  </a:cubicBezTo>
                  <a:cubicBezTo>
                    <a:pt x="11213" y="2661"/>
                    <a:pt x="11213" y="2661"/>
                    <a:pt x="11213" y="2661"/>
                  </a:cubicBezTo>
                  <a:cubicBezTo>
                    <a:pt x="11213" y="2789"/>
                    <a:pt x="11213" y="2789"/>
                    <a:pt x="11213" y="2789"/>
                  </a:cubicBezTo>
                  <a:cubicBezTo>
                    <a:pt x="11256" y="2789"/>
                    <a:pt x="11256" y="2789"/>
                    <a:pt x="11256" y="2789"/>
                  </a:cubicBezTo>
                  <a:cubicBezTo>
                    <a:pt x="11256" y="3499"/>
                    <a:pt x="11256" y="3499"/>
                    <a:pt x="11256" y="3499"/>
                  </a:cubicBezTo>
                  <a:cubicBezTo>
                    <a:pt x="11088" y="3499"/>
                    <a:pt x="11088" y="3499"/>
                    <a:pt x="11088" y="3499"/>
                  </a:cubicBezTo>
                  <a:cubicBezTo>
                    <a:pt x="11088" y="2480"/>
                    <a:pt x="11088" y="2480"/>
                    <a:pt x="11088" y="2480"/>
                  </a:cubicBezTo>
                  <a:cubicBezTo>
                    <a:pt x="10789" y="2072"/>
                    <a:pt x="10789" y="2072"/>
                    <a:pt x="10789" y="2072"/>
                  </a:cubicBezTo>
                  <a:cubicBezTo>
                    <a:pt x="10426" y="2072"/>
                    <a:pt x="10426" y="2072"/>
                    <a:pt x="10426" y="2072"/>
                  </a:cubicBezTo>
                  <a:cubicBezTo>
                    <a:pt x="10384" y="1429"/>
                    <a:pt x="10384" y="1429"/>
                    <a:pt x="10384" y="1429"/>
                  </a:cubicBezTo>
                  <a:cubicBezTo>
                    <a:pt x="10354" y="2072"/>
                    <a:pt x="10354" y="2072"/>
                    <a:pt x="10354" y="2072"/>
                  </a:cubicBezTo>
                  <a:cubicBezTo>
                    <a:pt x="9250" y="2072"/>
                    <a:pt x="9250" y="2072"/>
                    <a:pt x="9250" y="2072"/>
                  </a:cubicBezTo>
                  <a:cubicBezTo>
                    <a:pt x="9250" y="1832"/>
                    <a:pt x="9250" y="1832"/>
                    <a:pt x="9250" y="1832"/>
                  </a:cubicBezTo>
                  <a:cubicBezTo>
                    <a:pt x="9178" y="675"/>
                    <a:pt x="9178" y="675"/>
                    <a:pt x="9178" y="675"/>
                  </a:cubicBezTo>
                  <a:cubicBezTo>
                    <a:pt x="9104" y="1832"/>
                    <a:pt x="9104" y="1832"/>
                    <a:pt x="9104" y="1832"/>
                  </a:cubicBezTo>
                  <a:cubicBezTo>
                    <a:pt x="9104" y="2085"/>
                    <a:pt x="9104" y="2085"/>
                    <a:pt x="9104" y="2085"/>
                  </a:cubicBezTo>
                  <a:cubicBezTo>
                    <a:pt x="8856" y="2085"/>
                    <a:pt x="8856" y="2085"/>
                    <a:pt x="8856" y="2085"/>
                  </a:cubicBezTo>
                  <a:cubicBezTo>
                    <a:pt x="8856" y="1077"/>
                    <a:pt x="8856" y="1077"/>
                    <a:pt x="8856" y="1077"/>
                  </a:cubicBezTo>
                  <a:cubicBezTo>
                    <a:pt x="8756" y="1077"/>
                    <a:pt x="8756" y="1077"/>
                    <a:pt x="8756" y="1077"/>
                  </a:cubicBezTo>
                  <a:cubicBezTo>
                    <a:pt x="8756" y="531"/>
                    <a:pt x="8756" y="531"/>
                    <a:pt x="8756" y="531"/>
                  </a:cubicBezTo>
                  <a:cubicBezTo>
                    <a:pt x="8756" y="531"/>
                    <a:pt x="8756" y="123"/>
                    <a:pt x="8560" y="123"/>
                  </a:cubicBezTo>
                  <a:cubicBezTo>
                    <a:pt x="8364" y="123"/>
                    <a:pt x="8344" y="541"/>
                    <a:pt x="8344" y="541"/>
                  </a:cubicBezTo>
                  <a:cubicBezTo>
                    <a:pt x="8344" y="1077"/>
                    <a:pt x="8344" y="1077"/>
                    <a:pt x="8344" y="1077"/>
                  </a:cubicBezTo>
                  <a:cubicBezTo>
                    <a:pt x="8243" y="1077"/>
                    <a:pt x="8243" y="1077"/>
                    <a:pt x="8243" y="1077"/>
                  </a:cubicBezTo>
                  <a:cubicBezTo>
                    <a:pt x="8243" y="2273"/>
                    <a:pt x="8243" y="2273"/>
                    <a:pt x="8243" y="2273"/>
                  </a:cubicBezTo>
                  <a:cubicBezTo>
                    <a:pt x="7722" y="2273"/>
                    <a:pt x="7722" y="2273"/>
                    <a:pt x="7722" y="2273"/>
                  </a:cubicBezTo>
                  <a:cubicBezTo>
                    <a:pt x="7722" y="1077"/>
                    <a:pt x="7722" y="1077"/>
                    <a:pt x="7722" y="1077"/>
                  </a:cubicBezTo>
                  <a:cubicBezTo>
                    <a:pt x="7620" y="1077"/>
                    <a:pt x="7620" y="1077"/>
                    <a:pt x="7620" y="1077"/>
                  </a:cubicBezTo>
                  <a:cubicBezTo>
                    <a:pt x="7620" y="560"/>
                    <a:pt x="7620" y="560"/>
                    <a:pt x="7620" y="560"/>
                  </a:cubicBezTo>
                  <a:cubicBezTo>
                    <a:pt x="7620" y="560"/>
                    <a:pt x="7620" y="123"/>
                    <a:pt x="7419" y="123"/>
                  </a:cubicBezTo>
                  <a:cubicBezTo>
                    <a:pt x="7218" y="123"/>
                    <a:pt x="7218" y="557"/>
                    <a:pt x="7218" y="557"/>
                  </a:cubicBezTo>
                  <a:cubicBezTo>
                    <a:pt x="7218" y="1077"/>
                    <a:pt x="7218" y="1077"/>
                    <a:pt x="7218" y="1077"/>
                  </a:cubicBezTo>
                  <a:cubicBezTo>
                    <a:pt x="7107" y="1077"/>
                    <a:pt x="7107" y="1077"/>
                    <a:pt x="7107" y="1077"/>
                  </a:cubicBezTo>
                  <a:cubicBezTo>
                    <a:pt x="7107" y="2725"/>
                    <a:pt x="7107" y="2725"/>
                    <a:pt x="7107" y="2725"/>
                  </a:cubicBezTo>
                  <a:cubicBezTo>
                    <a:pt x="6997" y="2725"/>
                    <a:pt x="6997" y="2725"/>
                    <a:pt x="6997" y="2725"/>
                  </a:cubicBezTo>
                  <a:cubicBezTo>
                    <a:pt x="6997" y="2533"/>
                    <a:pt x="6997" y="2533"/>
                    <a:pt x="6997" y="2533"/>
                  </a:cubicBezTo>
                  <a:cubicBezTo>
                    <a:pt x="6715" y="2533"/>
                    <a:pt x="6715" y="2533"/>
                    <a:pt x="6715" y="2533"/>
                  </a:cubicBezTo>
                  <a:cubicBezTo>
                    <a:pt x="6715" y="2193"/>
                    <a:pt x="6715" y="2193"/>
                    <a:pt x="6715" y="2193"/>
                  </a:cubicBezTo>
                  <a:cubicBezTo>
                    <a:pt x="6592" y="2193"/>
                    <a:pt x="6592" y="2193"/>
                    <a:pt x="6592" y="2193"/>
                  </a:cubicBezTo>
                  <a:cubicBezTo>
                    <a:pt x="6592" y="2297"/>
                    <a:pt x="6592" y="2297"/>
                    <a:pt x="6592" y="2297"/>
                  </a:cubicBezTo>
                  <a:cubicBezTo>
                    <a:pt x="6503" y="2297"/>
                    <a:pt x="6503" y="2297"/>
                    <a:pt x="6503" y="2297"/>
                  </a:cubicBezTo>
                  <a:cubicBezTo>
                    <a:pt x="6503" y="2196"/>
                    <a:pt x="6503" y="2196"/>
                    <a:pt x="6503" y="2196"/>
                  </a:cubicBezTo>
                  <a:cubicBezTo>
                    <a:pt x="6376" y="2196"/>
                    <a:pt x="6376" y="2196"/>
                    <a:pt x="6376" y="2196"/>
                  </a:cubicBezTo>
                  <a:cubicBezTo>
                    <a:pt x="6376" y="2101"/>
                    <a:pt x="6376" y="2101"/>
                    <a:pt x="6376" y="2101"/>
                  </a:cubicBezTo>
                  <a:cubicBezTo>
                    <a:pt x="6270" y="2101"/>
                    <a:pt x="6270" y="2101"/>
                    <a:pt x="6270" y="2101"/>
                  </a:cubicBezTo>
                  <a:cubicBezTo>
                    <a:pt x="6213" y="1983"/>
                    <a:pt x="6213" y="1983"/>
                    <a:pt x="6213" y="1983"/>
                  </a:cubicBezTo>
                  <a:cubicBezTo>
                    <a:pt x="6165" y="2101"/>
                    <a:pt x="6165" y="2101"/>
                    <a:pt x="6165" y="2101"/>
                  </a:cubicBezTo>
                  <a:cubicBezTo>
                    <a:pt x="6063" y="2101"/>
                    <a:pt x="6063" y="2101"/>
                    <a:pt x="6063" y="2101"/>
                  </a:cubicBezTo>
                  <a:cubicBezTo>
                    <a:pt x="6063" y="2192"/>
                    <a:pt x="6063" y="2192"/>
                    <a:pt x="6063" y="2192"/>
                  </a:cubicBezTo>
                  <a:cubicBezTo>
                    <a:pt x="5898" y="2192"/>
                    <a:pt x="5898" y="2192"/>
                    <a:pt x="5898" y="2192"/>
                  </a:cubicBezTo>
                  <a:cubicBezTo>
                    <a:pt x="5898" y="2293"/>
                    <a:pt x="5898" y="2293"/>
                    <a:pt x="5898" y="2293"/>
                  </a:cubicBezTo>
                  <a:cubicBezTo>
                    <a:pt x="5816" y="2293"/>
                    <a:pt x="5816" y="2293"/>
                    <a:pt x="5816" y="2293"/>
                  </a:cubicBezTo>
                  <a:cubicBezTo>
                    <a:pt x="5816" y="2190"/>
                    <a:pt x="5816" y="2190"/>
                    <a:pt x="5816" y="2190"/>
                  </a:cubicBezTo>
                  <a:cubicBezTo>
                    <a:pt x="5720" y="2190"/>
                    <a:pt x="5720" y="2190"/>
                    <a:pt x="5720" y="2190"/>
                  </a:cubicBezTo>
                  <a:cubicBezTo>
                    <a:pt x="5720" y="2273"/>
                    <a:pt x="5720" y="2273"/>
                    <a:pt x="5720" y="2273"/>
                  </a:cubicBezTo>
                  <a:cubicBezTo>
                    <a:pt x="5720" y="2549"/>
                    <a:pt x="5720" y="2549"/>
                    <a:pt x="5720" y="2549"/>
                  </a:cubicBezTo>
                  <a:cubicBezTo>
                    <a:pt x="5599" y="2549"/>
                    <a:pt x="5599" y="2549"/>
                    <a:pt x="5599" y="2549"/>
                  </a:cubicBezTo>
                  <a:cubicBezTo>
                    <a:pt x="5599" y="1630"/>
                    <a:pt x="5599" y="1630"/>
                    <a:pt x="5599" y="1630"/>
                  </a:cubicBezTo>
                  <a:cubicBezTo>
                    <a:pt x="5380" y="1389"/>
                    <a:pt x="5380" y="1389"/>
                    <a:pt x="5380" y="1389"/>
                  </a:cubicBezTo>
                  <a:cubicBezTo>
                    <a:pt x="5333" y="850"/>
                    <a:pt x="5333" y="850"/>
                    <a:pt x="5333" y="850"/>
                  </a:cubicBezTo>
                  <a:cubicBezTo>
                    <a:pt x="5296" y="1383"/>
                    <a:pt x="5296" y="1383"/>
                    <a:pt x="5296" y="1383"/>
                  </a:cubicBezTo>
                  <a:cubicBezTo>
                    <a:pt x="5046" y="1630"/>
                    <a:pt x="5046" y="1630"/>
                    <a:pt x="5046" y="1630"/>
                  </a:cubicBezTo>
                  <a:cubicBezTo>
                    <a:pt x="5046" y="2273"/>
                    <a:pt x="5046" y="2273"/>
                    <a:pt x="5046" y="2273"/>
                  </a:cubicBezTo>
                  <a:cubicBezTo>
                    <a:pt x="5046" y="2273"/>
                    <a:pt x="5046" y="2725"/>
                    <a:pt x="4659" y="2725"/>
                  </a:cubicBezTo>
                  <a:cubicBezTo>
                    <a:pt x="4272" y="2725"/>
                    <a:pt x="4272" y="2273"/>
                    <a:pt x="4272" y="2273"/>
                  </a:cubicBezTo>
                  <a:cubicBezTo>
                    <a:pt x="3589" y="2273"/>
                    <a:pt x="3589" y="2273"/>
                    <a:pt x="3589" y="2273"/>
                  </a:cubicBezTo>
                  <a:cubicBezTo>
                    <a:pt x="3589" y="2725"/>
                    <a:pt x="3589" y="2725"/>
                    <a:pt x="3589" y="2725"/>
                  </a:cubicBezTo>
                  <a:cubicBezTo>
                    <a:pt x="3438" y="2725"/>
                    <a:pt x="3438" y="2725"/>
                    <a:pt x="3438" y="2725"/>
                  </a:cubicBezTo>
                  <a:cubicBezTo>
                    <a:pt x="3438" y="3499"/>
                    <a:pt x="3438" y="3499"/>
                    <a:pt x="3438" y="3499"/>
                  </a:cubicBezTo>
                  <a:cubicBezTo>
                    <a:pt x="3347" y="3499"/>
                    <a:pt x="3347" y="3499"/>
                    <a:pt x="3347" y="3499"/>
                  </a:cubicBezTo>
                  <a:cubicBezTo>
                    <a:pt x="3347" y="3082"/>
                    <a:pt x="3347" y="3082"/>
                    <a:pt x="3347" y="3082"/>
                  </a:cubicBezTo>
                  <a:cubicBezTo>
                    <a:pt x="3156" y="3082"/>
                    <a:pt x="3156" y="3082"/>
                    <a:pt x="3156" y="3082"/>
                  </a:cubicBezTo>
                  <a:cubicBezTo>
                    <a:pt x="3156" y="2894"/>
                    <a:pt x="3156" y="2894"/>
                    <a:pt x="3156" y="2894"/>
                  </a:cubicBezTo>
                  <a:cubicBezTo>
                    <a:pt x="2895" y="2725"/>
                    <a:pt x="2895" y="2725"/>
                    <a:pt x="2895" y="2725"/>
                  </a:cubicBezTo>
                  <a:cubicBezTo>
                    <a:pt x="2895" y="2273"/>
                    <a:pt x="2895" y="2273"/>
                    <a:pt x="2895" y="2273"/>
                  </a:cubicBezTo>
                  <a:cubicBezTo>
                    <a:pt x="2895" y="2273"/>
                    <a:pt x="2960" y="2229"/>
                    <a:pt x="2960" y="2072"/>
                  </a:cubicBezTo>
                  <a:cubicBezTo>
                    <a:pt x="2960" y="1915"/>
                    <a:pt x="2895" y="1832"/>
                    <a:pt x="2895" y="1832"/>
                  </a:cubicBezTo>
                  <a:cubicBezTo>
                    <a:pt x="2895" y="1630"/>
                    <a:pt x="2895" y="1630"/>
                    <a:pt x="2895" y="1630"/>
                  </a:cubicBezTo>
                  <a:cubicBezTo>
                    <a:pt x="2895" y="1630"/>
                    <a:pt x="2828" y="1481"/>
                    <a:pt x="2634" y="1481"/>
                  </a:cubicBezTo>
                  <a:cubicBezTo>
                    <a:pt x="2440" y="1481"/>
                    <a:pt x="2382" y="1630"/>
                    <a:pt x="2382" y="1630"/>
                  </a:cubicBezTo>
                  <a:cubicBezTo>
                    <a:pt x="2382" y="1832"/>
                    <a:pt x="2382" y="1832"/>
                    <a:pt x="2382" y="1832"/>
                  </a:cubicBezTo>
                  <a:cubicBezTo>
                    <a:pt x="2382" y="1832"/>
                    <a:pt x="2320" y="1931"/>
                    <a:pt x="2320" y="2072"/>
                  </a:cubicBezTo>
                  <a:cubicBezTo>
                    <a:pt x="2320" y="2213"/>
                    <a:pt x="2382" y="2273"/>
                    <a:pt x="2382" y="2273"/>
                  </a:cubicBezTo>
                  <a:cubicBezTo>
                    <a:pt x="2382" y="2725"/>
                    <a:pt x="2382" y="2725"/>
                    <a:pt x="2382" y="2725"/>
                  </a:cubicBezTo>
                  <a:cubicBezTo>
                    <a:pt x="2219" y="2725"/>
                    <a:pt x="2219" y="2725"/>
                    <a:pt x="2219" y="2725"/>
                  </a:cubicBezTo>
                  <a:cubicBezTo>
                    <a:pt x="2219" y="2725"/>
                    <a:pt x="2194" y="2273"/>
                    <a:pt x="1936" y="2273"/>
                  </a:cubicBezTo>
                  <a:cubicBezTo>
                    <a:pt x="1677" y="2273"/>
                    <a:pt x="1635" y="2725"/>
                    <a:pt x="1635" y="2725"/>
                  </a:cubicBezTo>
                  <a:cubicBezTo>
                    <a:pt x="955" y="2725"/>
                    <a:pt x="955" y="2725"/>
                    <a:pt x="955" y="2725"/>
                  </a:cubicBezTo>
                  <a:cubicBezTo>
                    <a:pt x="661" y="3073"/>
                    <a:pt x="661" y="3073"/>
                    <a:pt x="661" y="3073"/>
                  </a:cubicBezTo>
                  <a:cubicBezTo>
                    <a:pt x="618" y="2273"/>
                    <a:pt x="618" y="2273"/>
                    <a:pt x="618" y="2273"/>
                  </a:cubicBezTo>
                  <a:cubicBezTo>
                    <a:pt x="578" y="3073"/>
                    <a:pt x="578" y="3073"/>
                    <a:pt x="578" y="3073"/>
                  </a:cubicBezTo>
                  <a:cubicBezTo>
                    <a:pt x="523" y="3174"/>
                    <a:pt x="523" y="3174"/>
                    <a:pt x="523" y="3174"/>
                  </a:cubicBezTo>
                  <a:cubicBezTo>
                    <a:pt x="523" y="3499"/>
                    <a:pt x="523" y="3499"/>
                    <a:pt x="523" y="3499"/>
                  </a:cubicBezTo>
                  <a:cubicBezTo>
                    <a:pt x="0" y="3499"/>
                    <a:pt x="0" y="3499"/>
                    <a:pt x="0" y="3499"/>
                  </a:cubicBezTo>
                  <a:cubicBezTo>
                    <a:pt x="0" y="3831"/>
                    <a:pt x="0" y="3831"/>
                    <a:pt x="0" y="3831"/>
                  </a:cubicBezTo>
                  <a:cubicBezTo>
                    <a:pt x="17766" y="3831"/>
                    <a:pt x="17766" y="3831"/>
                    <a:pt x="17766" y="3831"/>
                  </a:cubicBezTo>
                  <a:cubicBezTo>
                    <a:pt x="17766" y="3626"/>
                    <a:pt x="17766" y="3626"/>
                    <a:pt x="17766" y="3626"/>
                  </a:cubicBezTo>
                  <a:lnTo>
                    <a:pt x="17305" y="3626"/>
                  </a:lnTo>
                  <a:close/>
                  <a:moveTo>
                    <a:pt x="6477" y="3499"/>
                  </a:moveTo>
                  <a:cubicBezTo>
                    <a:pt x="5954" y="3499"/>
                    <a:pt x="5954" y="3499"/>
                    <a:pt x="5954" y="3499"/>
                  </a:cubicBezTo>
                  <a:cubicBezTo>
                    <a:pt x="5954" y="2990"/>
                    <a:pt x="5954" y="2990"/>
                    <a:pt x="5954" y="2990"/>
                  </a:cubicBezTo>
                  <a:cubicBezTo>
                    <a:pt x="5954" y="2990"/>
                    <a:pt x="5958" y="2787"/>
                    <a:pt x="6213" y="2787"/>
                  </a:cubicBezTo>
                  <a:cubicBezTo>
                    <a:pt x="6467" y="2787"/>
                    <a:pt x="6477" y="2993"/>
                    <a:pt x="6477" y="2993"/>
                  </a:cubicBezTo>
                  <a:lnTo>
                    <a:pt x="6477" y="3499"/>
                  </a:lnTo>
                  <a:close/>
                  <a:moveTo>
                    <a:pt x="12932" y="1831"/>
                  </a:moveTo>
                  <a:cubicBezTo>
                    <a:pt x="12855" y="1831"/>
                    <a:pt x="12793" y="1769"/>
                    <a:pt x="12793" y="1693"/>
                  </a:cubicBezTo>
                  <a:cubicBezTo>
                    <a:pt x="12793" y="1616"/>
                    <a:pt x="12855" y="1554"/>
                    <a:pt x="12932" y="1554"/>
                  </a:cubicBezTo>
                  <a:cubicBezTo>
                    <a:pt x="13008" y="1554"/>
                    <a:pt x="13070" y="1616"/>
                    <a:pt x="13070" y="1693"/>
                  </a:cubicBezTo>
                  <a:cubicBezTo>
                    <a:pt x="13070" y="1769"/>
                    <a:pt x="13008" y="1831"/>
                    <a:pt x="12932" y="1831"/>
                  </a:cubicBezTo>
                  <a:close/>
                  <a:moveTo>
                    <a:pt x="14731" y="1722"/>
                  </a:moveTo>
                  <a:cubicBezTo>
                    <a:pt x="14613" y="1722"/>
                    <a:pt x="14517" y="1626"/>
                    <a:pt x="14517" y="1507"/>
                  </a:cubicBezTo>
                  <a:cubicBezTo>
                    <a:pt x="14517" y="1389"/>
                    <a:pt x="14613" y="1293"/>
                    <a:pt x="14731" y="1293"/>
                  </a:cubicBezTo>
                  <a:cubicBezTo>
                    <a:pt x="14850" y="1293"/>
                    <a:pt x="14946" y="1389"/>
                    <a:pt x="14946" y="1507"/>
                  </a:cubicBezTo>
                  <a:cubicBezTo>
                    <a:pt x="14946" y="1626"/>
                    <a:pt x="14850" y="1722"/>
                    <a:pt x="14731" y="17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92291519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A2E80F-0B4B-4A01-B381-C19EE3C9EB6C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6167CD-ACF3-44E5-96F7-CBD0F02174FE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95599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626A88-0AAE-4996-854B-829518FBA3B0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00AEB5-48D3-407A-87AD-5CBD2B7059AD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456950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7041C2-87DA-4D44-92B1-64F7CE0A3F3F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9A411B-1D2B-4180-A34A-996B547F93F3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62428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58AE75-3CC9-4FF6-818E-43066B0C0BC5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B42E68-D785-4F74-9B1C-F917F3652562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85590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CH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F578F1-2C57-4E5C-B960-FC9528F04357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01F4B1-3470-4B5B-9143-12D43DF35AE1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697250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98098E-9D9F-408E-8949-EDCFA445432B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5A5102-5240-4FB8-88A8-0F5B9D2E1A41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54724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375651" y="269875"/>
            <a:ext cx="2616200" cy="585628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27051" y="269875"/>
            <a:ext cx="7645400" cy="585628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B768F9-B1EE-4C2A-BA46-9ADE6056022A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6F5544-C5AF-40AA-8075-D989F0F346A6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52996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Inh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7051" y="269875"/>
            <a:ext cx="10464800" cy="109855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1221317" y="1771651"/>
            <a:ext cx="4783667" cy="435451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8184" y="1771651"/>
            <a:ext cx="4783667" cy="435451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A3E1EA-63C6-4617-AFEB-6D65F2FB883E}" type="datetime1">
              <a:rPr lang="de-DE" smtClean="0">
                <a:solidFill>
                  <a:srgbClr val="001155"/>
                </a:solidFill>
              </a:rPr>
              <a:pPr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87B80F-341E-4867-AB52-AA4F4DBE4013}" type="slidenum">
              <a:rPr lang="en-GB">
                <a:solidFill>
                  <a:srgbClr val="001155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20110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1221318" y="3357563"/>
            <a:ext cx="47857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21318" y="1770064"/>
            <a:ext cx="9766300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altLang="de-DE" noProof="0"/>
              <a:t>Titelmasterformat durch Klicken bearbeiten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21318" y="3590925"/>
            <a:ext cx="4785783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altLang="de-DE" noProof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9209953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ED65D3E-9830-4CE2-A92C-D2DE49FD23B3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2589269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5"/>
            <a:ext cx="12192000" cy="6864351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23"/>
            <a:ext cx="1056216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11059584" y="6084890"/>
            <a:ext cx="1056216" cy="37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17"/>
          <p:cNvSpPr>
            <a:spLocks/>
          </p:cNvSpPr>
          <p:nvPr userDrawn="1"/>
        </p:nvSpPr>
        <p:spPr bwMode="auto">
          <a:xfrm>
            <a:off x="0" y="5002214"/>
            <a:ext cx="11059584" cy="1576387"/>
          </a:xfrm>
          <a:custGeom>
            <a:avLst/>
            <a:gdLst>
              <a:gd name="T0" fmla="*/ 2147483647 w 2880"/>
              <a:gd name="T1" fmla="*/ 2147483647 h 545"/>
              <a:gd name="T2" fmla="*/ 2147483647 w 2880"/>
              <a:gd name="T3" fmla="*/ 2147483647 h 545"/>
              <a:gd name="T4" fmla="*/ 2147483647 w 2880"/>
              <a:gd name="T5" fmla="*/ 2147483647 h 545"/>
              <a:gd name="T6" fmla="*/ 2147483647 w 2880"/>
              <a:gd name="T7" fmla="*/ 2147483647 h 545"/>
              <a:gd name="T8" fmla="*/ 0 w 2880"/>
              <a:gd name="T9" fmla="*/ 2147483647 h 545"/>
              <a:gd name="T10" fmla="*/ 2147483647 w 2880"/>
              <a:gd name="T11" fmla="*/ 2147483647 h 545"/>
              <a:gd name="T12" fmla="*/ 2147483647 w 2880"/>
              <a:gd name="T13" fmla="*/ 2147483647 h 545"/>
              <a:gd name="T14" fmla="*/ 2147483647 w 2880"/>
              <a:gd name="T15" fmla="*/ 2147483647 h 545"/>
              <a:gd name="T16" fmla="*/ 2147483647 w 2880"/>
              <a:gd name="T17" fmla="*/ 2147483647 h 545"/>
              <a:gd name="T18" fmla="*/ 2147483647 w 2880"/>
              <a:gd name="T19" fmla="*/ 2147483647 h 545"/>
              <a:gd name="T20" fmla="*/ 2147483647 w 2880"/>
              <a:gd name="T21" fmla="*/ 2147483647 h 545"/>
              <a:gd name="T22" fmla="*/ 2147483647 w 2880"/>
              <a:gd name="T23" fmla="*/ 2147483647 h 545"/>
              <a:gd name="T24" fmla="*/ 2147483647 w 2880"/>
              <a:gd name="T25" fmla="*/ 2147483647 h 545"/>
              <a:gd name="T26" fmla="*/ 2147483647 w 2880"/>
              <a:gd name="T27" fmla="*/ 2147483647 h 545"/>
              <a:gd name="T28" fmla="*/ 2147483647 w 2880"/>
              <a:gd name="T29" fmla="*/ 2147483647 h 545"/>
              <a:gd name="T30" fmla="*/ 2147483647 w 2880"/>
              <a:gd name="T31" fmla="*/ 2147483647 h 545"/>
              <a:gd name="T32" fmla="*/ 2147483647 w 2880"/>
              <a:gd name="T33" fmla="*/ 2147483647 h 545"/>
              <a:gd name="T34" fmla="*/ 2147483647 w 2880"/>
              <a:gd name="T35" fmla="*/ 2147483647 h 545"/>
              <a:gd name="T36" fmla="*/ 2147483647 w 2880"/>
              <a:gd name="T37" fmla="*/ 2147483647 h 545"/>
              <a:gd name="T38" fmla="*/ 2147483647 w 2880"/>
              <a:gd name="T39" fmla="*/ 2147483647 h 545"/>
              <a:gd name="T40" fmla="*/ 2147483647 w 2880"/>
              <a:gd name="T41" fmla="*/ 2147483647 h 545"/>
              <a:gd name="T42" fmla="*/ 2147483647 w 2880"/>
              <a:gd name="T43" fmla="*/ 2147483647 h 545"/>
              <a:gd name="T44" fmla="*/ 2147483647 w 2880"/>
              <a:gd name="T45" fmla="*/ 2147483647 h 545"/>
              <a:gd name="T46" fmla="*/ 2147483647 w 2880"/>
              <a:gd name="T47" fmla="*/ 2147483647 h 545"/>
              <a:gd name="T48" fmla="*/ 2147483647 w 2880"/>
              <a:gd name="T49" fmla="*/ 2147483647 h 545"/>
              <a:gd name="T50" fmla="*/ 2147483647 w 2880"/>
              <a:gd name="T51" fmla="*/ 2147483647 h 545"/>
              <a:gd name="T52" fmla="*/ 2147483647 w 2880"/>
              <a:gd name="T53" fmla="*/ 2147483647 h 545"/>
              <a:gd name="T54" fmla="*/ 2147483647 w 2880"/>
              <a:gd name="T55" fmla="*/ 2147483647 h 545"/>
              <a:gd name="T56" fmla="*/ 2147483647 w 2880"/>
              <a:gd name="T57" fmla="*/ 2147483647 h 545"/>
              <a:gd name="T58" fmla="*/ 2147483647 w 2880"/>
              <a:gd name="T59" fmla="*/ 2147483647 h 545"/>
              <a:gd name="T60" fmla="*/ 2147483647 w 2880"/>
              <a:gd name="T61" fmla="*/ 2147483647 h 545"/>
              <a:gd name="T62" fmla="*/ 2147483647 w 2880"/>
              <a:gd name="T63" fmla="*/ 2147483647 h 545"/>
              <a:gd name="T64" fmla="*/ 2147483647 w 2880"/>
              <a:gd name="T65" fmla="*/ 2147483647 h 545"/>
              <a:gd name="T66" fmla="*/ 2147483647 w 2880"/>
              <a:gd name="T67" fmla="*/ 2147483647 h 545"/>
              <a:gd name="T68" fmla="*/ 2147483647 w 2880"/>
              <a:gd name="T69" fmla="*/ 2147483647 h 545"/>
              <a:gd name="T70" fmla="*/ 2147483647 w 2880"/>
              <a:gd name="T71" fmla="*/ 2147483647 h 545"/>
              <a:gd name="T72" fmla="*/ 2147483647 w 2880"/>
              <a:gd name="T73" fmla="*/ 2147483647 h 545"/>
              <a:gd name="T74" fmla="*/ 2147483647 w 2880"/>
              <a:gd name="T75" fmla="*/ 2147483647 h 545"/>
              <a:gd name="T76" fmla="*/ 2147483647 w 2880"/>
              <a:gd name="T77" fmla="*/ 2147483647 h 545"/>
              <a:gd name="T78" fmla="*/ 2147483647 w 2880"/>
              <a:gd name="T79" fmla="*/ 2147483647 h 545"/>
              <a:gd name="T80" fmla="*/ 2147483647 w 2880"/>
              <a:gd name="T81" fmla="*/ 2147483647 h 545"/>
              <a:gd name="T82" fmla="*/ 2147483647 w 2880"/>
              <a:gd name="T83" fmla="*/ 2147483647 h 545"/>
              <a:gd name="T84" fmla="*/ 2147483647 w 2880"/>
              <a:gd name="T85" fmla="*/ 2147483647 h 545"/>
              <a:gd name="T86" fmla="*/ 2147483647 w 2880"/>
              <a:gd name="T87" fmla="*/ 2147483647 h 545"/>
              <a:gd name="T88" fmla="*/ 2147483647 w 2880"/>
              <a:gd name="T89" fmla="*/ 2147483647 h 545"/>
              <a:gd name="T90" fmla="*/ 2147483647 w 2880"/>
              <a:gd name="T91" fmla="*/ 2147483647 h 545"/>
              <a:gd name="T92" fmla="*/ 2147483647 w 2880"/>
              <a:gd name="T93" fmla="*/ 2147483647 h 545"/>
              <a:gd name="T94" fmla="*/ 2147483647 w 2880"/>
              <a:gd name="T95" fmla="*/ 2147483647 h 545"/>
              <a:gd name="T96" fmla="*/ 2147483647 w 2880"/>
              <a:gd name="T97" fmla="*/ 2147483647 h 545"/>
              <a:gd name="T98" fmla="*/ 2147483647 w 2880"/>
              <a:gd name="T99" fmla="*/ 2147483647 h 545"/>
              <a:gd name="T100" fmla="*/ 2147483647 w 2880"/>
              <a:gd name="T101" fmla="*/ 2147483647 h 545"/>
              <a:gd name="T102" fmla="*/ 2147483647 w 2880"/>
              <a:gd name="T103" fmla="*/ 2147483647 h 545"/>
              <a:gd name="T104" fmla="*/ 2147483647 w 2880"/>
              <a:gd name="T105" fmla="*/ 2147483647 h 545"/>
              <a:gd name="T106" fmla="*/ 2147483647 w 2880"/>
              <a:gd name="T107" fmla="*/ 2147483647 h 545"/>
              <a:gd name="T108" fmla="*/ 2147483647 w 2880"/>
              <a:gd name="T109" fmla="*/ 2147483647 h 545"/>
              <a:gd name="T110" fmla="*/ 2147483647 w 2880"/>
              <a:gd name="T111" fmla="*/ 2147483647 h 545"/>
              <a:gd name="T112" fmla="*/ 2147483647 w 2880"/>
              <a:gd name="T113" fmla="*/ 2147483647 h 545"/>
              <a:gd name="T114" fmla="*/ 2147483647 w 2880"/>
              <a:gd name="T115" fmla="*/ 2147483647 h 545"/>
              <a:gd name="T116" fmla="*/ 2147483647 w 2880"/>
              <a:gd name="T117" fmla="*/ 2147483647 h 54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880" h="545">
                <a:moveTo>
                  <a:pt x="2537" y="545"/>
                </a:moveTo>
                <a:cubicBezTo>
                  <a:pt x="1363" y="545"/>
                  <a:pt x="1363" y="545"/>
                  <a:pt x="1363" y="545"/>
                </a:cubicBezTo>
                <a:cubicBezTo>
                  <a:pt x="1363" y="527"/>
                  <a:pt x="1341" y="512"/>
                  <a:pt x="1314" y="512"/>
                </a:cubicBezTo>
                <a:cubicBezTo>
                  <a:pt x="1286" y="512"/>
                  <a:pt x="1264" y="527"/>
                  <a:pt x="1264" y="545"/>
                </a:cubicBezTo>
                <a:cubicBezTo>
                  <a:pt x="1252" y="545"/>
                  <a:pt x="1252" y="545"/>
                  <a:pt x="1252" y="545"/>
                </a:cubicBezTo>
                <a:cubicBezTo>
                  <a:pt x="1252" y="527"/>
                  <a:pt x="1229" y="512"/>
                  <a:pt x="1202" y="512"/>
                </a:cubicBezTo>
                <a:cubicBezTo>
                  <a:pt x="1175" y="512"/>
                  <a:pt x="1153" y="527"/>
                  <a:pt x="1153" y="545"/>
                </a:cubicBezTo>
                <a:cubicBezTo>
                  <a:pt x="1133" y="545"/>
                  <a:pt x="1133" y="545"/>
                  <a:pt x="1133" y="545"/>
                </a:cubicBezTo>
                <a:cubicBezTo>
                  <a:pt x="1133" y="527"/>
                  <a:pt x="1111" y="512"/>
                  <a:pt x="1084" y="512"/>
                </a:cubicBezTo>
                <a:cubicBezTo>
                  <a:pt x="1057" y="512"/>
                  <a:pt x="1035" y="527"/>
                  <a:pt x="1035" y="545"/>
                </a:cubicBezTo>
                <a:cubicBezTo>
                  <a:pt x="1021" y="545"/>
                  <a:pt x="1021" y="545"/>
                  <a:pt x="1021" y="545"/>
                </a:cubicBezTo>
                <a:cubicBezTo>
                  <a:pt x="1021" y="527"/>
                  <a:pt x="999" y="512"/>
                  <a:pt x="972" y="512"/>
                </a:cubicBezTo>
                <a:cubicBezTo>
                  <a:pt x="945" y="512"/>
                  <a:pt x="923" y="527"/>
                  <a:pt x="923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173"/>
                  <a:pt x="0" y="173"/>
                  <a:pt x="0" y="173"/>
                </a:cubicBezTo>
                <a:cubicBezTo>
                  <a:pt x="32" y="162"/>
                  <a:pt x="32" y="162"/>
                  <a:pt x="32" y="162"/>
                </a:cubicBezTo>
                <a:cubicBezTo>
                  <a:pt x="112" y="259"/>
                  <a:pt x="112" y="259"/>
                  <a:pt x="112" y="259"/>
                </a:cubicBezTo>
                <a:cubicBezTo>
                  <a:pt x="159" y="259"/>
                  <a:pt x="159" y="259"/>
                  <a:pt x="159" y="259"/>
                </a:cubicBezTo>
                <a:cubicBezTo>
                  <a:pt x="187" y="281"/>
                  <a:pt x="187" y="281"/>
                  <a:pt x="187" y="281"/>
                </a:cubicBezTo>
                <a:cubicBezTo>
                  <a:pt x="232" y="306"/>
                  <a:pt x="232" y="306"/>
                  <a:pt x="232" y="306"/>
                </a:cubicBezTo>
                <a:cubicBezTo>
                  <a:pt x="276" y="346"/>
                  <a:pt x="276" y="346"/>
                  <a:pt x="276" y="346"/>
                </a:cubicBezTo>
                <a:cubicBezTo>
                  <a:pt x="319" y="334"/>
                  <a:pt x="319" y="334"/>
                  <a:pt x="319" y="334"/>
                </a:cubicBezTo>
                <a:cubicBezTo>
                  <a:pt x="363" y="387"/>
                  <a:pt x="363" y="387"/>
                  <a:pt x="363" y="387"/>
                </a:cubicBezTo>
                <a:cubicBezTo>
                  <a:pt x="399" y="354"/>
                  <a:pt x="399" y="354"/>
                  <a:pt x="399" y="354"/>
                </a:cubicBezTo>
                <a:cubicBezTo>
                  <a:pt x="418" y="287"/>
                  <a:pt x="418" y="287"/>
                  <a:pt x="418" y="287"/>
                </a:cubicBezTo>
                <a:cubicBezTo>
                  <a:pt x="426" y="258"/>
                  <a:pt x="426" y="258"/>
                  <a:pt x="426" y="258"/>
                </a:cubicBezTo>
                <a:cubicBezTo>
                  <a:pt x="435" y="258"/>
                  <a:pt x="435" y="258"/>
                  <a:pt x="435" y="258"/>
                </a:cubicBezTo>
                <a:cubicBezTo>
                  <a:pt x="446" y="304"/>
                  <a:pt x="446" y="304"/>
                  <a:pt x="446" y="304"/>
                </a:cubicBezTo>
                <a:cubicBezTo>
                  <a:pt x="457" y="304"/>
                  <a:pt x="457" y="304"/>
                  <a:pt x="457" y="304"/>
                </a:cubicBezTo>
                <a:cubicBezTo>
                  <a:pt x="457" y="209"/>
                  <a:pt x="457" y="209"/>
                  <a:pt x="457" y="209"/>
                </a:cubicBezTo>
                <a:cubicBezTo>
                  <a:pt x="469" y="206"/>
                  <a:pt x="469" y="206"/>
                  <a:pt x="469" y="206"/>
                </a:cubicBezTo>
                <a:cubicBezTo>
                  <a:pt x="500" y="0"/>
                  <a:pt x="500" y="0"/>
                  <a:pt x="500" y="0"/>
                </a:cubicBezTo>
                <a:cubicBezTo>
                  <a:pt x="532" y="204"/>
                  <a:pt x="532" y="204"/>
                  <a:pt x="532" y="204"/>
                </a:cubicBezTo>
                <a:cubicBezTo>
                  <a:pt x="546" y="205"/>
                  <a:pt x="546" y="205"/>
                  <a:pt x="546" y="205"/>
                </a:cubicBezTo>
                <a:cubicBezTo>
                  <a:pt x="546" y="337"/>
                  <a:pt x="546" y="337"/>
                  <a:pt x="546" y="337"/>
                </a:cubicBezTo>
                <a:cubicBezTo>
                  <a:pt x="583" y="375"/>
                  <a:pt x="583" y="375"/>
                  <a:pt x="583" y="375"/>
                </a:cubicBezTo>
                <a:cubicBezTo>
                  <a:pt x="639" y="375"/>
                  <a:pt x="639" y="375"/>
                  <a:pt x="639" y="375"/>
                </a:cubicBezTo>
                <a:cubicBezTo>
                  <a:pt x="639" y="311"/>
                  <a:pt x="639" y="311"/>
                  <a:pt x="639" y="311"/>
                </a:cubicBezTo>
                <a:cubicBezTo>
                  <a:pt x="639" y="311"/>
                  <a:pt x="620" y="307"/>
                  <a:pt x="620" y="298"/>
                </a:cubicBezTo>
                <a:cubicBezTo>
                  <a:pt x="620" y="290"/>
                  <a:pt x="639" y="286"/>
                  <a:pt x="639" y="286"/>
                </a:cubicBezTo>
                <a:cubicBezTo>
                  <a:pt x="639" y="275"/>
                  <a:pt x="639" y="275"/>
                  <a:pt x="639" y="275"/>
                </a:cubicBezTo>
                <a:cubicBezTo>
                  <a:pt x="656" y="258"/>
                  <a:pt x="656" y="258"/>
                  <a:pt x="656" y="258"/>
                </a:cubicBezTo>
                <a:cubicBezTo>
                  <a:pt x="680" y="180"/>
                  <a:pt x="680" y="180"/>
                  <a:pt x="680" y="180"/>
                </a:cubicBezTo>
                <a:cubicBezTo>
                  <a:pt x="699" y="258"/>
                  <a:pt x="699" y="258"/>
                  <a:pt x="699" y="258"/>
                </a:cubicBezTo>
                <a:cubicBezTo>
                  <a:pt x="718" y="272"/>
                  <a:pt x="718" y="272"/>
                  <a:pt x="718" y="272"/>
                </a:cubicBezTo>
                <a:cubicBezTo>
                  <a:pt x="718" y="286"/>
                  <a:pt x="718" y="286"/>
                  <a:pt x="718" y="286"/>
                </a:cubicBezTo>
                <a:cubicBezTo>
                  <a:pt x="718" y="286"/>
                  <a:pt x="734" y="290"/>
                  <a:pt x="734" y="299"/>
                </a:cubicBezTo>
                <a:cubicBezTo>
                  <a:pt x="734" y="308"/>
                  <a:pt x="718" y="310"/>
                  <a:pt x="718" y="310"/>
                </a:cubicBezTo>
                <a:cubicBezTo>
                  <a:pt x="718" y="403"/>
                  <a:pt x="718" y="403"/>
                  <a:pt x="718" y="403"/>
                </a:cubicBezTo>
                <a:cubicBezTo>
                  <a:pt x="737" y="403"/>
                  <a:pt x="737" y="403"/>
                  <a:pt x="737" y="403"/>
                </a:cubicBezTo>
                <a:cubicBezTo>
                  <a:pt x="751" y="388"/>
                  <a:pt x="751" y="388"/>
                  <a:pt x="751" y="388"/>
                </a:cubicBezTo>
                <a:cubicBezTo>
                  <a:pt x="789" y="388"/>
                  <a:pt x="789" y="388"/>
                  <a:pt x="789" y="388"/>
                </a:cubicBezTo>
                <a:cubicBezTo>
                  <a:pt x="789" y="375"/>
                  <a:pt x="789" y="375"/>
                  <a:pt x="789" y="375"/>
                </a:cubicBezTo>
                <a:cubicBezTo>
                  <a:pt x="917" y="375"/>
                  <a:pt x="917" y="375"/>
                  <a:pt x="917" y="375"/>
                </a:cubicBezTo>
                <a:cubicBezTo>
                  <a:pt x="917" y="383"/>
                  <a:pt x="917" y="383"/>
                  <a:pt x="917" y="383"/>
                </a:cubicBezTo>
                <a:cubicBezTo>
                  <a:pt x="954" y="383"/>
                  <a:pt x="954" y="383"/>
                  <a:pt x="954" y="383"/>
                </a:cubicBezTo>
                <a:cubicBezTo>
                  <a:pt x="964" y="395"/>
                  <a:pt x="964" y="395"/>
                  <a:pt x="964" y="395"/>
                </a:cubicBezTo>
                <a:cubicBezTo>
                  <a:pt x="964" y="435"/>
                  <a:pt x="964" y="435"/>
                  <a:pt x="964" y="435"/>
                </a:cubicBezTo>
                <a:cubicBezTo>
                  <a:pt x="1006" y="435"/>
                  <a:pt x="1006" y="435"/>
                  <a:pt x="1006" y="435"/>
                </a:cubicBezTo>
                <a:cubicBezTo>
                  <a:pt x="1021" y="419"/>
                  <a:pt x="1021" y="419"/>
                  <a:pt x="1021" y="419"/>
                </a:cubicBezTo>
                <a:cubicBezTo>
                  <a:pt x="1036" y="431"/>
                  <a:pt x="1036" y="431"/>
                  <a:pt x="1036" y="431"/>
                </a:cubicBezTo>
                <a:cubicBezTo>
                  <a:pt x="1065" y="431"/>
                  <a:pt x="1065" y="431"/>
                  <a:pt x="1065" y="431"/>
                </a:cubicBezTo>
                <a:cubicBezTo>
                  <a:pt x="1084" y="412"/>
                  <a:pt x="1084" y="412"/>
                  <a:pt x="1084" y="412"/>
                </a:cubicBezTo>
                <a:cubicBezTo>
                  <a:pt x="1104" y="429"/>
                  <a:pt x="1104" y="429"/>
                  <a:pt x="1104" y="429"/>
                </a:cubicBezTo>
                <a:cubicBezTo>
                  <a:pt x="1161" y="429"/>
                  <a:pt x="1161" y="429"/>
                  <a:pt x="1161" y="429"/>
                </a:cubicBezTo>
                <a:cubicBezTo>
                  <a:pt x="1175" y="415"/>
                  <a:pt x="1175" y="415"/>
                  <a:pt x="1175" y="415"/>
                </a:cubicBezTo>
                <a:cubicBezTo>
                  <a:pt x="1188" y="427"/>
                  <a:pt x="1188" y="427"/>
                  <a:pt x="1188" y="427"/>
                </a:cubicBezTo>
                <a:cubicBezTo>
                  <a:pt x="1210" y="427"/>
                  <a:pt x="1210" y="427"/>
                  <a:pt x="1210" y="427"/>
                </a:cubicBezTo>
                <a:cubicBezTo>
                  <a:pt x="1210" y="497"/>
                  <a:pt x="1210" y="497"/>
                  <a:pt x="1210" y="497"/>
                </a:cubicBezTo>
                <a:cubicBezTo>
                  <a:pt x="1246" y="497"/>
                  <a:pt x="1246" y="497"/>
                  <a:pt x="1246" y="497"/>
                </a:cubicBezTo>
                <a:cubicBezTo>
                  <a:pt x="1246" y="443"/>
                  <a:pt x="1246" y="443"/>
                  <a:pt x="1246" y="443"/>
                </a:cubicBezTo>
                <a:cubicBezTo>
                  <a:pt x="1225" y="443"/>
                  <a:pt x="1225" y="443"/>
                  <a:pt x="1225" y="443"/>
                </a:cubicBezTo>
                <a:cubicBezTo>
                  <a:pt x="1251" y="427"/>
                  <a:pt x="1251" y="427"/>
                  <a:pt x="1251" y="427"/>
                </a:cubicBezTo>
                <a:cubicBezTo>
                  <a:pt x="1251" y="406"/>
                  <a:pt x="1251" y="406"/>
                  <a:pt x="1251" y="406"/>
                </a:cubicBezTo>
                <a:cubicBezTo>
                  <a:pt x="1280" y="406"/>
                  <a:pt x="1280" y="406"/>
                  <a:pt x="1280" y="406"/>
                </a:cubicBezTo>
                <a:cubicBezTo>
                  <a:pt x="1299" y="390"/>
                  <a:pt x="1299" y="390"/>
                  <a:pt x="1299" y="390"/>
                </a:cubicBezTo>
                <a:cubicBezTo>
                  <a:pt x="1319" y="406"/>
                  <a:pt x="1319" y="406"/>
                  <a:pt x="1319" y="406"/>
                </a:cubicBezTo>
                <a:cubicBezTo>
                  <a:pt x="1349" y="406"/>
                  <a:pt x="1349" y="406"/>
                  <a:pt x="1349" y="406"/>
                </a:cubicBezTo>
                <a:cubicBezTo>
                  <a:pt x="1349" y="431"/>
                  <a:pt x="1349" y="431"/>
                  <a:pt x="1349" y="431"/>
                </a:cubicBezTo>
                <a:cubicBezTo>
                  <a:pt x="1369" y="431"/>
                  <a:pt x="1369" y="431"/>
                  <a:pt x="1369" y="431"/>
                </a:cubicBezTo>
                <a:cubicBezTo>
                  <a:pt x="1369" y="396"/>
                  <a:pt x="1369" y="396"/>
                  <a:pt x="1369" y="396"/>
                </a:cubicBezTo>
                <a:cubicBezTo>
                  <a:pt x="1390" y="375"/>
                  <a:pt x="1390" y="375"/>
                  <a:pt x="1390" y="375"/>
                </a:cubicBezTo>
                <a:cubicBezTo>
                  <a:pt x="1390" y="355"/>
                  <a:pt x="1390" y="355"/>
                  <a:pt x="1390" y="355"/>
                </a:cubicBezTo>
                <a:cubicBezTo>
                  <a:pt x="1415" y="355"/>
                  <a:pt x="1415" y="355"/>
                  <a:pt x="1415" y="355"/>
                </a:cubicBezTo>
                <a:cubicBezTo>
                  <a:pt x="1445" y="329"/>
                  <a:pt x="1445" y="329"/>
                  <a:pt x="1445" y="329"/>
                </a:cubicBezTo>
                <a:cubicBezTo>
                  <a:pt x="1548" y="329"/>
                  <a:pt x="1548" y="329"/>
                  <a:pt x="1548" y="329"/>
                </a:cubicBezTo>
                <a:cubicBezTo>
                  <a:pt x="1548" y="307"/>
                  <a:pt x="1548" y="307"/>
                  <a:pt x="1548" y="307"/>
                </a:cubicBezTo>
                <a:cubicBezTo>
                  <a:pt x="1540" y="307"/>
                  <a:pt x="1540" y="307"/>
                  <a:pt x="1540" y="307"/>
                </a:cubicBezTo>
                <a:cubicBezTo>
                  <a:pt x="1540" y="271"/>
                  <a:pt x="1540" y="271"/>
                  <a:pt x="1540" y="271"/>
                </a:cubicBezTo>
                <a:cubicBezTo>
                  <a:pt x="1550" y="271"/>
                  <a:pt x="1550" y="271"/>
                  <a:pt x="1550" y="271"/>
                </a:cubicBezTo>
                <a:cubicBezTo>
                  <a:pt x="1550" y="244"/>
                  <a:pt x="1550" y="244"/>
                  <a:pt x="1550" y="244"/>
                </a:cubicBezTo>
                <a:cubicBezTo>
                  <a:pt x="1559" y="244"/>
                  <a:pt x="1559" y="244"/>
                  <a:pt x="1559" y="244"/>
                </a:cubicBezTo>
                <a:cubicBezTo>
                  <a:pt x="1559" y="272"/>
                  <a:pt x="1559" y="272"/>
                  <a:pt x="1559" y="272"/>
                </a:cubicBezTo>
                <a:cubicBezTo>
                  <a:pt x="1569" y="272"/>
                  <a:pt x="1569" y="272"/>
                  <a:pt x="1569" y="272"/>
                </a:cubicBezTo>
                <a:cubicBezTo>
                  <a:pt x="1569" y="306"/>
                  <a:pt x="1569" y="306"/>
                  <a:pt x="1569" y="306"/>
                </a:cubicBezTo>
                <a:cubicBezTo>
                  <a:pt x="1562" y="306"/>
                  <a:pt x="1562" y="306"/>
                  <a:pt x="1562" y="306"/>
                </a:cubicBezTo>
                <a:cubicBezTo>
                  <a:pt x="1562" y="329"/>
                  <a:pt x="1562" y="329"/>
                  <a:pt x="1562" y="329"/>
                </a:cubicBezTo>
                <a:cubicBezTo>
                  <a:pt x="1588" y="329"/>
                  <a:pt x="1588" y="329"/>
                  <a:pt x="1588" y="329"/>
                </a:cubicBezTo>
                <a:cubicBezTo>
                  <a:pt x="1616" y="375"/>
                  <a:pt x="1616" y="375"/>
                  <a:pt x="1616" y="375"/>
                </a:cubicBezTo>
                <a:cubicBezTo>
                  <a:pt x="1676" y="375"/>
                  <a:pt x="1676" y="375"/>
                  <a:pt x="1676" y="375"/>
                </a:cubicBezTo>
                <a:cubicBezTo>
                  <a:pt x="1676" y="329"/>
                  <a:pt x="1676" y="329"/>
                  <a:pt x="1676" y="329"/>
                </a:cubicBezTo>
                <a:cubicBezTo>
                  <a:pt x="1696" y="321"/>
                  <a:pt x="1696" y="321"/>
                  <a:pt x="1696" y="321"/>
                </a:cubicBezTo>
                <a:cubicBezTo>
                  <a:pt x="1696" y="258"/>
                  <a:pt x="1696" y="258"/>
                  <a:pt x="1696" y="258"/>
                </a:cubicBezTo>
                <a:cubicBezTo>
                  <a:pt x="1704" y="258"/>
                  <a:pt x="1704" y="258"/>
                  <a:pt x="1704" y="258"/>
                </a:cubicBezTo>
                <a:cubicBezTo>
                  <a:pt x="1704" y="166"/>
                  <a:pt x="1704" y="166"/>
                  <a:pt x="1704" y="166"/>
                </a:cubicBezTo>
                <a:cubicBezTo>
                  <a:pt x="1713" y="166"/>
                  <a:pt x="1713" y="166"/>
                  <a:pt x="1713" y="166"/>
                </a:cubicBezTo>
                <a:cubicBezTo>
                  <a:pt x="1713" y="104"/>
                  <a:pt x="1713" y="104"/>
                  <a:pt x="1713" y="104"/>
                </a:cubicBezTo>
                <a:cubicBezTo>
                  <a:pt x="1725" y="104"/>
                  <a:pt x="1725" y="104"/>
                  <a:pt x="1725" y="104"/>
                </a:cubicBezTo>
                <a:cubicBezTo>
                  <a:pt x="1725" y="83"/>
                  <a:pt x="1725" y="83"/>
                  <a:pt x="1725" y="83"/>
                </a:cubicBezTo>
                <a:cubicBezTo>
                  <a:pt x="1725" y="83"/>
                  <a:pt x="1725" y="58"/>
                  <a:pt x="1751" y="58"/>
                </a:cubicBezTo>
                <a:cubicBezTo>
                  <a:pt x="1776" y="58"/>
                  <a:pt x="1778" y="83"/>
                  <a:pt x="1778" y="83"/>
                </a:cubicBezTo>
                <a:cubicBezTo>
                  <a:pt x="1778" y="104"/>
                  <a:pt x="1778" y="104"/>
                  <a:pt x="1778" y="104"/>
                </a:cubicBezTo>
                <a:cubicBezTo>
                  <a:pt x="1786" y="104"/>
                  <a:pt x="1786" y="104"/>
                  <a:pt x="1786" y="104"/>
                </a:cubicBezTo>
                <a:cubicBezTo>
                  <a:pt x="1786" y="164"/>
                  <a:pt x="1786" y="164"/>
                  <a:pt x="1786" y="164"/>
                </a:cubicBezTo>
                <a:cubicBezTo>
                  <a:pt x="1793" y="164"/>
                  <a:pt x="1793" y="164"/>
                  <a:pt x="1793" y="164"/>
                </a:cubicBezTo>
                <a:cubicBezTo>
                  <a:pt x="1793" y="257"/>
                  <a:pt x="1793" y="257"/>
                  <a:pt x="1793" y="257"/>
                </a:cubicBezTo>
                <a:cubicBezTo>
                  <a:pt x="1802" y="257"/>
                  <a:pt x="1802" y="257"/>
                  <a:pt x="1802" y="257"/>
                </a:cubicBezTo>
                <a:cubicBezTo>
                  <a:pt x="1802" y="164"/>
                  <a:pt x="1802" y="164"/>
                  <a:pt x="1802" y="164"/>
                </a:cubicBezTo>
                <a:cubicBezTo>
                  <a:pt x="1805" y="164"/>
                  <a:pt x="1805" y="164"/>
                  <a:pt x="1805" y="164"/>
                </a:cubicBezTo>
                <a:cubicBezTo>
                  <a:pt x="1805" y="104"/>
                  <a:pt x="1805" y="104"/>
                  <a:pt x="1805" y="104"/>
                </a:cubicBezTo>
                <a:cubicBezTo>
                  <a:pt x="1819" y="104"/>
                  <a:pt x="1819" y="104"/>
                  <a:pt x="1819" y="104"/>
                </a:cubicBezTo>
                <a:cubicBezTo>
                  <a:pt x="1819" y="83"/>
                  <a:pt x="1819" y="83"/>
                  <a:pt x="1819" y="83"/>
                </a:cubicBezTo>
                <a:cubicBezTo>
                  <a:pt x="1819" y="83"/>
                  <a:pt x="1819" y="58"/>
                  <a:pt x="1844" y="58"/>
                </a:cubicBezTo>
                <a:cubicBezTo>
                  <a:pt x="1870" y="58"/>
                  <a:pt x="1872" y="83"/>
                  <a:pt x="1872" y="83"/>
                </a:cubicBezTo>
                <a:cubicBezTo>
                  <a:pt x="1872" y="104"/>
                  <a:pt x="1872" y="104"/>
                  <a:pt x="1872" y="104"/>
                </a:cubicBezTo>
                <a:cubicBezTo>
                  <a:pt x="1878" y="104"/>
                  <a:pt x="1878" y="104"/>
                  <a:pt x="1878" y="104"/>
                </a:cubicBezTo>
                <a:cubicBezTo>
                  <a:pt x="1878" y="167"/>
                  <a:pt x="1878" y="167"/>
                  <a:pt x="1878" y="167"/>
                </a:cubicBezTo>
                <a:cubicBezTo>
                  <a:pt x="1886" y="167"/>
                  <a:pt x="1886" y="167"/>
                  <a:pt x="1886" y="167"/>
                </a:cubicBezTo>
                <a:cubicBezTo>
                  <a:pt x="1886" y="258"/>
                  <a:pt x="1886" y="258"/>
                  <a:pt x="1886" y="258"/>
                </a:cubicBezTo>
                <a:cubicBezTo>
                  <a:pt x="2028" y="258"/>
                  <a:pt x="2028" y="258"/>
                  <a:pt x="2028" y="258"/>
                </a:cubicBezTo>
                <a:cubicBezTo>
                  <a:pt x="2028" y="241"/>
                  <a:pt x="2028" y="241"/>
                  <a:pt x="2028" y="241"/>
                </a:cubicBezTo>
                <a:cubicBezTo>
                  <a:pt x="2018" y="241"/>
                  <a:pt x="2018" y="241"/>
                  <a:pt x="2018" y="241"/>
                </a:cubicBezTo>
                <a:cubicBezTo>
                  <a:pt x="2018" y="230"/>
                  <a:pt x="2018" y="230"/>
                  <a:pt x="2018" y="230"/>
                </a:cubicBezTo>
                <a:cubicBezTo>
                  <a:pt x="2028" y="230"/>
                  <a:pt x="2028" y="230"/>
                  <a:pt x="2028" y="230"/>
                </a:cubicBezTo>
                <a:cubicBezTo>
                  <a:pt x="2028" y="192"/>
                  <a:pt x="2028" y="192"/>
                  <a:pt x="2028" y="192"/>
                </a:cubicBezTo>
                <a:cubicBezTo>
                  <a:pt x="2035" y="192"/>
                  <a:pt x="2035" y="192"/>
                  <a:pt x="2035" y="192"/>
                </a:cubicBezTo>
                <a:cubicBezTo>
                  <a:pt x="2035" y="158"/>
                  <a:pt x="2035" y="158"/>
                  <a:pt x="2035" y="158"/>
                </a:cubicBezTo>
                <a:cubicBezTo>
                  <a:pt x="2035" y="150"/>
                  <a:pt x="2035" y="150"/>
                  <a:pt x="2035" y="150"/>
                </a:cubicBezTo>
                <a:cubicBezTo>
                  <a:pt x="2046" y="150"/>
                  <a:pt x="2046" y="150"/>
                  <a:pt x="2046" y="150"/>
                </a:cubicBezTo>
                <a:cubicBezTo>
                  <a:pt x="2046" y="192"/>
                  <a:pt x="2046" y="192"/>
                  <a:pt x="2046" y="192"/>
                </a:cubicBezTo>
                <a:cubicBezTo>
                  <a:pt x="2051" y="192"/>
                  <a:pt x="2051" y="192"/>
                  <a:pt x="2051" y="192"/>
                </a:cubicBezTo>
                <a:cubicBezTo>
                  <a:pt x="2051" y="230"/>
                  <a:pt x="2051" y="230"/>
                  <a:pt x="2051" y="230"/>
                </a:cubicBezTo>
                <a:cubicBezTo>
                  <a:pt x="2064" y="230"/>
                  <a:pt x="2064" y="230"/>
                  <a:pt x="2064" y="230"/>
                </a:cubicBezTo>
                <a:cubicBezTo>
                  <a:pt x="2064" y="241"/>
                  <a:pt x="2064" y="241"/>
                  <a:pt x="2064" y="241"/>
                </a:cubicBezTo>
                <a:cubicBezTo>
                  <a:pt x="2051" y="241"/>
                  <a:pt x="2051" y="241"/>
                  <a:pt x="2051" y="241"/>
                </a:cubicBezTo>
                <a:cubicBezTo>
                  <a:pt x="2051" y="258"/>
                  <a:pt x="2051" y="258"/>
                  <a:pt x="2051" y="258"/>
                </a:cubicBezTo>
                <a:cubicBezTo>
                  <a:pt x="2077" y="258"/>
                  <a:pt x="2077" y="258"/>
                  <a:pt x="2077" y="258"/>
                </a:cubicBezTo>
                <a:cubicBezTo>
                  <a:pt x="2104" y="286"/>
                  <a:pt x="2104" y="286"/>
                  <a:pt x="2104" y="286"/>
                </a:cubicBezTo>
                <a:cubicBezTo>
                  <a:pt x="2136" y="286"/>
                  <a:pt x="2136" y="286"/>
                  <a:pt x="2136" y="286"/>
                </a:cubicBezTo>
                <a:cubicBezTo>
                  <a:pt x="2136" y="333"/>
                  <a:pt x="2136" y="333"/>
                  <a:pt x="2136" y="333"/>
                </a:cubicBezTo>
                <a:cubicBezTo>
                  <a:pt x="2178" y="333"/>
                  <a:pt x="2178" y="333"/>
                  <a:pt x="2178" y="333"/>
                </a:cubicBezTo>
                <a:cubicBezTo>
                  <a:pt x="2178" y="363"/>
                  <a:pt x="2178" y="363"/>
                  <a:pt x="2178" y="363"/>
                </a:cubicBezTo>
                <a:cubicBezTo>
                  <a:pt x="2221" y="363"/>
                  <a:pt x="2221" y="363"/>
                  <a:pt x="2221" y="363"/>
                </a:cubicBezTo>
                <a:cubicBezTo>
                  <a:pt x="2221" y="343"/>
                  <a:pt x="2221" y="343"/>
                  <a:pt x="2221" y="343"/>
                </a:cubicBezTo>
                <a:cubicBezTo>
                  <a:pt x="2243" y="343"/>
                  <a:pt x="2243" y="343"/>
                  <a:pt x="2243" y="343"/>
                </a:cubicBezTo>
                <a:cubicBezTo>
                  <a:pt x="2295" y="391"/>
                  <a:pt x="2295" y="391"/>
                  <a:pt x="2295" y="391"/>
                </a:cubicBezTo>
                <a:cubicBezTo>
                  <a:pt x="2312" y="391"/>
                  <a:pt x="2312" y="391"/>
                  <a:pt x="2312" y="391"/>
                </a:cubicBezTo>
                <a:cubicBezTo>
                  <a:pt x="2312" y="363"/>
                  <a:pt x="2312" y="363"/>
                  <a:pt x="2312" y="363"/>
                </a:cubicBezTo>
                <a:cubicBezTo>
                  <a:pt x="2377" y="363"/>
                  <a:pt x="2377" y="363"/>
                  <a:pt x="2377" y="363"/>
                </a:cubicBezTo>
                <a:cubicBezTo>
                  <a:pt x="2377" y="453"/>
                  <a:pt x="2377" y="453"/>
                  <a:pt x="2377" y="453"/>
                </a:cubicBezTo>
                <a:cubicBezTo>
                  <a:pt x="2419" y="453"/>
                  <a:pt x="2419" y="453"/>
                  <a:pt x="2419" y="453"/>
                </a:cubicBezTo>
                <a:cubicBezTo>
                  <a:pt x="2419" y="423"/>
                  <a:pt x="2419" y="423"/>
                  <a:pt x="2419" y="423"/>
                </a:cubicBezTo>
                <a:cubicBezTo>
                  <a:pt x="2477" y="423"/>
                  <a:pt x="2477" y="423"/>
                  <a:pt x="2477" y="423"/>
                </a:cubicBezTo>
                <a:cubicBezTo>
                  <a:pt x="2512" y="311"/>
                  <a:pt x="2512" y="311"/>
                  <a:pt x="2512" y="311"/>
                </a:cubicBezTo>
                <a:cubicBezTo>
                  <a:pt x="2557" y="311"/>
                  <a:pt x="2557" y="311"/>
                  <a:pt x="2557" y="311"/>
                </a:cubicBezTo>
                <a:cubicBezTo>
                  <a:pt x="2587" y="341"/>
                  <a:pt x="2587" y="341"/>
                  <a:pt x="2587" y="341"/>
                </a:cubicBezTo>
                <a:cubicBezTo>
                  <a:pt x="2625" y="341"/>
                  <a:pt x="2625" y="341"/>
                  <a:pt x="2625" y="341"/>
                </a:cubicBezTo>
                <a:cubicBezTo>
                  <a:pt x="2647" y="326"/>
                  <a:pt x="2647" y="326"/>
                  <a:pt x="2647" y="326"/>
                </a:cubicBezTo>
                <a:cubicBezTo>
                  <a:pt x="2669" y="342"/>
                  <a:pt x="2669" y="342"/>
                  <a:pt x="2669" y="342"/>
                </a:cubicBezTo>
                <a:cubicBezTo>
                  <a:pt x="2707" y="342"/>
                  <a:pt x="2707" y="342"/>
                  <a:pt x="2707" y="342"/>
                </a:cubicBezTo>
                <a:cubicBezTo>
                  <a:pt x="2707" y="386"/>
                  <a:pt x="2707" y="386"/>
                  <a:pt x="2707" y="386"/>
                </a:cubicBezTo>
                <a:cubicBezTo>
                  <a:pt x="2743" y="386"/>
                  <a:pt x="2743" y="386"/>
                  <a:pt x="2743" y="386"/>
                </a:cubicBezTo>
                <a:cubicBezTo>
                  <a:pt x="2743" y="433"/>
                  <a:pt x="2743" y="433"/>
                  <a:pt x="2743" y="433"/>
                </a:cubicBezTo>
                <a:cubicBezTo>
                  <a:pt x="2800" y="481"/>
                  <a:pt x="2800" y="481"/>
                  <a:pt x="2800" y="481"/>
                </a:cubicBezTo>
                <a:cubicBezTo>
                  <a:pt x="2800" y="450"/>
                  <a:pt x="2800" y="450"/>
                  <a:pt x="2800" y="450"/>
                </a:cubicBezTo>
                <a:cubicBezTo>
                  <a:pt x="2880" y="450"/>
                  <a:pt x="2880" y="450"/>
                  <a:pt x="2880" y="450"/>
                </a:cubicBezTo>
                <a:cubicBezTo>
                  <a:pt x="2880" y="471"/>
                  <a:pt x="2880" y="471"/>
                  <a:pt x="2880" y="471"/>
                </a:cubicBezTo>
                <a:cubicBezTo>
                  <a:pt x="2880" y="545"/>
                  <a:pt x="2880" y="545"/>
                  <a:pt x="2880" y="545"/>
                </a:cubicBezTo>
                <a:lnTo>
                  <a:pt x="2537" y="545"/>
                </a:lnTo>
                <a:close/>
              </a:path>
            </a:pathLst>
          </a:custGeom>
          <a:solidFill>
            <a:schemeClr val="tx1">
              <a:alpha val="2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CH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971058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9B94AEB-589D-4E83-A765-9278E18CB002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84900701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1317" y="1771651"/>
            <a:ext cx="4783667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8184" y="1771651"/>
            <a:ext cx="4783667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D5A4F36-11A4-4BF1-B551-4441257BEEF5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153519945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F4C6963-E1B5-4693-BD21-F8ACC6A336EA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374182187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D8FC6F4-8DD2-48F9-AA6C-3A26D6F91498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54230667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A7B2868-3011-4C46-9D62-F52296DFE1E5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40634160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AA9E37-CDB3-4DEE-9D1B-D82C9F2C2ECC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367422519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CH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12B2A20-F513-4193-9BE6-107F69D0AC0B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422742215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295085-3888-42EE-A373-4CC20443BA29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45400890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375651" y="269875"/>
            <a:ext cx="2616200" cy="585628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27051" y="269875"/>
            <a:ext cx="7645400" cy="585628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>
                <a:solidFill>
                  <a:srgbClr val="001155"/>
                </a:solidFill>
              </a:rPr>
              <a:t>18.03.2013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88C77D3-6A8F-4960-9E41-BC553E8773B9}" type="slidenum">
              <a:rPr lang="en-GB" altLang="de-DE">
                <a:solidFill>
                  <a:srgbClr val="001155"/>
                </a:solidFill>
              </a:rPr>
              <a:pPr/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>
                <a:solidFill>
                  <a:srgbClr val="001155"/>
                </a:solidFill>
              </a:rPr>
              <a:t>SCPP_CID_Infomeeting.ppt</a:t>
            </a:r>
          </a:p>
        </p:txBody>
      </p:sp>
    </p:spTree>
    <p:extLst>
      <p:ext uri="{BB962C8B-B14F-4D97-AF65-F5344CB8AC3E}">
        <p14:creationId xmlns:p14="http://schemas.microsoft.com/office/powerpoint/2010/main" val="19049516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| Neg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8">
            <a:extLst>
              <a:ext uri="{FF2B5EF4-FFF2-40B4-BE49-F238E27FC236}">
                <a16:creationId xmlns:a16="http://schemas.microsoft.com/office/drawing/2014/main" id="{4CAA1A37-9204-4A25-9054-31917E42559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solidFill>
            <a:srgbClr val="DDE3E7"/>
          </a:solidFill>
        </p:spPr>
        <p:txBody>
          <a:bodyPr lIns="9432000" rIns="50400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GB"/>
              <a:t>To add a picture, please right click the image placeholder and bring it to front. </a:t>
            </a:r>
            <a:br>
              <a:rPr lang="en-GB"/>
            </a:br>
            <a:br>
              <a:rPr lang="en-GB"/>
            </a:br>
            <a:r>
              <a:rPr lang="en-GB"/>
              <a:t>You can now insert a picture by clicking on the placeholder image icon. Then click the Reset button on the Home menu tab to send the picture to background.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DB9E957-3F55-4CEB-ABFA-916F4BB161AA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263352" y="5120522"/>
            <a:ext cx="234000" cy="1260806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199456" y="333375"/>
            <a:ext cx="8208000" cy="3239002"/>
          </a:xfrm>
        </p:spPr>
        <p:txBody>
          <a:bodyPr tIns="0" bIns="0" anchor="b"/>
          <a:lstStyle>
            <a:lvl1pPr algn="l">
              <a:lnSpc>
                <a:spcPct val="90000"/>
              </a:lnSpc>
              <a:defRPr sz="6600" b="1" i="0" spc="-1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Click to edit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199456" y="3716313"/>
            <a:ext cx="8208000" cy="720000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GB"/>
              <a:t>Click to edit subline</a:t>
            </a:r>
          </a:p>
          <a:p>
            <a:pPr lvl="1"/>
            <a:r>
              <a:rPr lang="en-GB"/>
              <a:t>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82FBF00-184A-445D-86C9-C33582C6762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5600" y="360000"/>
            <a:ext cx="342000" cy="460800"/>
          </a:xfr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6E9A991-EE31-4DB7-89CA-2351FF7823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9456" y="5697252"/>
            <a:ext cx="8208912" cy="6840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r>
              <a:rPr lang="en-GB"/>
              <a:t>C2 Internal</a:t>
            </a:r>
          </a:p>
        </p:txBody>
      </p:sp>
    </p:spTree>
    <p:extLst>
      <p:ext uri="{BB962C8B-B14F-4D97-AF65-F5344CB8AC3E}">
        <p14:creationId xmlns:p14="http://schemas.microsoft.com/office/powerpoint/2010/main" val="2923714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5"/>
            <a:ext cx="12192000" cy="6864351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indent="177800" fontAlgn="base">
                <a:spcBef>
                  <a:spcPct val="50000"/>
                </a:spcBef>
                <a:spcAft>
                  <a:spcPct val="0"/>
                </a:spcAft>
                <a:buClr>
                  <a:srgbClr val="11AAFF"/>
                </a:buClr>
                <a:defRPr/>
              </a:pPr>
              <a:endParaRPr lang="de-DE" sz="1800">
                <a:solidFill>
                  <a:srgbClr val="001155"/>
                </a:solidFill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23"/>
            <a:ext cx="1056216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11059584" y="6084890"/>
            <a:ext cx="1056216" cy="37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5"/>
          <p:cNvSpPr>
            <a:spLocks/>
          </p:cNvSpPr>
          <p:nvPr userDrawn="1"/>
        </p:nvSpPr>
        <p:spPr bwMode="auto">
          <a:xfrm>
            <a:off x="21167" y="5022851"/>
            <a:ext cx="11004551" cy="1549400"/>
          </a:xfrm>
          <a:custGeom>
            <a:avLst/>
            <a:gdLst>
              <a:gd name="T0" fmla="*/ 2147483647 w 2915"/>
              <a:gd name="T1" fmla="*/ 2147483647 h 545"/>
              <a:gd name="T2" fmla="*/ 2147483647 w 2915"/>
              <a:gd name="T3" fmla="*/ 2147483647 h 545"/>
              <a:gd name="T4" fmla="*/ 2147483647 w 2915"/>
              <a:gd name="T5" fmla="*/ 2147483647 h 545"/>
              <a:gd name="T6" fmla="*/ 2147483647 w 2915"/>
              <a:gd name="T7" fmla="*/ 2147483647 h 545"/>
              <a:gd name="T8" fmla="*/ 2147483647 w 2915"/>
              <a:gd name="T9" fmla="*/ 2147483647 h 545"/>
              <a:gd name="T10" fmla="*/ 2147483647 w 2915"/>
              <a:gd name="T11" fmla="*/ 2147483647 h 545"/>
              <a:gd name="T12" fmla="*/ 2147483647 w 2915"/>
              <a:gd name="T13" fmla="*/ 2147483647 h 545"/>
              <a:gd name="T14" fmla="*/ 2147483647 w 2915"/>
              <a:gd name="T15" fmla="*/ 2147483647 h 545"/>
              <a:gd name="T16" fmla="*/ 2147483647 w 2915"/>
              <a:gd name="T17" fmla="*/ 2147483647 h 545"/>
              <a:gd name="T18" fmla="*/ 2147483647 w 2915"/>
              <a:gd name="T19" fmla="*/ 2147483647 h 545"/>
              <a:gd name="T20" fmla="*/ 2147483647 w 2915"/>
              <a:gd name="T21" fmla="*/ 2147483647 h 545"/>
              <a:gd name="T22" fmla="*/ 2147483647 w 2915"/>
              <a:gd name="T23" fmla="*/ 2147483647 h 545"/>
              <a:gd name="T24" fmla="*/ 2147483647 w 2915"/>
              <a:gd name="T25" fmla="*/ 2147483647 h 545"/>
              <a:gd name="T26" fmla="*/ 2147483647 w 2915"/>
              <a:gd name="T27" fmla="*/ 2147483647 h 545"/>
              <a:gd name="T28" fmla="*/ 2147483647 w 2915"/>
              <a:gd name="T29" fmla="*/ 2147483647 h 545"/>
              <a:gd name="T30" fmla="*/ 2147483647 w 2915"/>
              <a:gd name="T31" fmla="*/ 2147483647 h 545"/>
              <a:gd name="T32" fmla="*/ 2147483647 w 2915"/>
              <a:gd name="T33" fmla="*/ 2147483647 h 545"/>
              <a:gd name="T34" fmla="*/ 2147483647 w 2915"/>
              <a:gd name="T35" fmla="*/ 2147483647 h 545"/>
              <a:gd name="T36" fmla="*/ 2147483647 w 2915"/>
              <a:gd name="T37" fmla="*/ 2147483647 h 545"/>
              <a:gd name="T38" fmla="*/ 2147483647 w 2915"/>
              <a:gd name="T39" fmla="*/ 2147483647 h 545"/>
              <a:gd name="T40" fmla="*/ 2147483647 w 2915"/>
              <a:gd name="T41" fmla="*/ 2147483647 h 545"/>
              <a:gd name="T42" fmla="*/ 2147483647 w 2915"/>
              <a:gd name="T43" fmla="*/ 2147483647 h 545"/>
              <a:gd name="T44" fmla="*/ 2147483647 w 2915"/>
              <a:gd name="T45" fmla="*/ 2147483647 h 545"/>
              <a:gd name="T46" fmla="*/ 2147483647 w 2915"/>
              <a:gd name="T47" fmla="*/ 2147483647 h 545"/>
              <a:gd name="T48" fmla="*/ 2147483647 w 2915"/>
              <a:gd name="T49" fmla="*/ 2147483647 h 545"/>
              <a:gd name="T50" fmla="*/ 2147483647 w 2915"/>
              <a:gd name="T51" fmla="*/ 2147483647 h 545"/>
              <a:gd name="T52" fmla="*/ 2147483647 w 2915"/>
              <a:gd name="T53" fmla="*/ 2147483647 h 545"/>
              <a:gd name="T54" fmla="*/ 2147483647 w 2915"/>
              <a:gd name="T55" fmla="*/ 2147483647 h 545"/>
              <a:gd name="T56" fmla="*/ 2147483647 w 2915"/>
              <a:gd name="T57" fmla="*/ 2147483647 h 545"/>
              <a:gd name="T58" fmla="*/ 2147483647 w 2915"/>
              <a:gd name="T59" fmla="*/ 2147483647 h 545"/>
              <a:gd name="T60" fmla="*/ 2147483647 w 2915"/>
              <a:gd name="T61" fmla="*/ 2147483647 h 545"/>
              <a:gd name="T62" fmla="*/ 2147483647 w 2915"/>
              <a:gd name="T63" fmla="*/ 2147483647 h 545"/>
              <a:gd name="T64" fmla="*/ 2147483647 w 2915"/>
              <a:gd name="T65" fmla="*/ 2147483647 h 545"/>
              <a:gd name="T66" fmla="*/ 2147483647 w 2915"/>
              <a:gd name="T67" fmla="*/ 2147483647 h 545"/>
              <a:gd name="T68" fmla="*/ 2147483647 w 2915"/>
              <a:gd name="T69" fmla="*/ 2147483647 h 545"/>
              <a:gd name="T70" fmla="*/ 2147483647 w 2915"/>
              <a:gd name="T71" fmla="*/ 2147483647 h 545"/>
              <a:gd name="T72" fmla="*/ 2147483647 w 2915"/>
              <a:gd name="T73" fmla="*/ 2147483647 h 545"/>
              <a:gd name="T74" fmla="*/ 2147483647 w 2915"/>
              <a:gd name="T75" fmla="*/ 2147483647 h 545"/>
              <a:gd name="T76" fmla="*/ 2147483647 w 2915"/>
              <a:gd name="T77" fmla="*/ 2147483647 h 545"/>
              <a:gd name="T78" fmla="*/ 2147483647 w 2915"/>
              <a:gd name="T79" fmla="*/ 2147483647 h 545"/>
              <a:gd name="T80" fmla="*/ 2147483647 w 2915"/>
              <a:gd name="T81" fmla="*/ 2147483647 h 545"/>
              <a:gd name="T82" fmla="*/ 2147483647 w 2915"/>
              <a:gd name="T83" fmla="*/ 2147483647 h 545"/>
              <a:gd name="T84" fmla="*/ 2147483647 w 2915"/>
              <a:gd name="T85" fmla="*/ 2147483647 h 545"/>
              <a:gd name="T86" fmla="*/ 2147483647 w 2915"/>
              <a:gd name="T87" fmla="*/ 2147483647 h 545"/>
              <a:gd name="T88" fmla="*/ 2147483647 w 2915"/>
              <a:gd name="T89" fmla="*/ 2147483647 h 545"/>
              <a:gd name="T90" fmla="*/ 2147483647 w 2915"/>
              <a:gd name="T91" fmla="*/ 2147483647 h 545"/>
              <a:gd name="T92" fmla="*/ 2147483647 w 2915"/>
              <a:gd name="T93" fmla="*/ 2147483647 h 545"/>
              <a:gd name="T94" fmla="*/ 2147483647 w 2915"/>
              <a:gd name="T95" fmla="*/ 2147483647 h 545"/>
              <a:gd name="T96" fmla="*/ 2147483647 w 2915"/>
              <a:gd name="T97" fmla="*/ 2147483647 h 545"/>
              <a:gd name="T98" fmla="*/ 2147483647 w 2915"/>
              <a:gd name="T99" fmla="*/ 2147483647 h 545"/>
              <a:gd name="T100" fmla="*/ 2147483647 w 2915"/>
              <a:gd name="T101" fmla="*/ 2147483647 h 545"/>
              <a:gd name="T102" fmla="*/ 2147483647 w 2915"/>
              <a:gd name="T103" fmla="*/ 2147483647 h 545"/>
              <a:gd name="T104" fmla="*/ 2147483647 w 2915"/>
              <a:gd name="T105" fmla="*/ 2147483647 h 545"/>
              <a:gd name="T106" fmla="*/ 0 w 2915"/>
              <a:gd name="T107" fmla="*/ 2147483647 h 545"/>
              <a:gd name="T108" fmla="*/ 2147483647 w 2915"/>
              <a:gd name="T109" fmla="*/ 2147483647 h 545"/>
              <a:gd name="T110" fmla="*/ 2147483647 w 2915"/>
              <a:gd name="T111" fmla="*/ 2147483647 h 545"/>
              <a:gd name="T112" fmla="*/ 2147483647 w 2915"/>
              <a:gd name="T113" fmla="*/ 2147483647 h 545"/>
              <a:gd name="T114" fmla="*/ 2147483647 w 2915"/>
              <a:gd name="T115" fmla="*/ 2147483647 h 545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915" h="545">
                <a:moveTo>
                  <a:pt x="490" y="259"/>
                </a:moveTo>
                <a:cubicBezTo>
                  <a:pt x="537" y="259"/>
                  <a:pt x="537" y="259"/>
                  <a:pt x="537" y="259"/>
                </a:cubicBezTo>
                <a:cubicBezTo>
                  <a:pt x="565" y="281"/>
                  <a:pt x="565" y="281"/>
                  <a:pt x="565" y="281"/>
                </a:cubicBezTo>
                <a:cubicBezTo>
                  <a:pt x="610" y="306"/>
                  <a:pt x="610" y="306"/>
                  <a:pt x="610" y="306"/>
                </a:cubicBezTo>
                <a:cubicBezTo>
                  <a:pt x="654" y="346"/>
                  <a:pt x="654" y="346"/>
                  <a:pt x="654" y="346"/>
                </a:cubicBezTo>
                <a:cubicBezTo>
                  <a:pt x="697" y="334"/>
                  <a:pt x="697" y="334"/>
                  <a:pt x="697" y="334"/>
                </a:cubicBezTo>
                <a:cubicBezTo>
                  <a:pt x="741" y="387"/>
                  <a:pt x="741" y="387"/>
                  <a:pt x="741" y="387"/>
                </a:cubicBezTo>
                <a:cubicBezTo>
                  <a:pt x="777" y="354"/>
                  <a:pt x="777" y="354"/>
                  <a:pt x="777" y="354"/>
                </a:cubicBezTo>
                <a:cubicBezTo>
                  <a:pt x="796" y="287"/>
                  <a:pt x="796" y="287"/>
                  <a:pt x="796" y="287"/>
                </a:cubicBezTo>
                <a:cubicBezTo>
                  <a:pt x="804" y="258"/>
                  <a:pt x="804" y="258"/>
                  <a:pt x="804" y="258"/>
                </a:cubicBezTo>
                <a:cubicBezTo>
                  <a:pt x="813" y="258"/>
                  <a:pt x="813" y="258"/>
                  <a:pt x="813" y="258"/>
                </a:cubicBezTo>
                <a:cubicBezTo>
                  <a:pt x="824" y="304"/>
                  <a:pt x="824" y="304"/>
                  <a:pt x="824" y="304"/>
                </a:cubicBezTo>
                <a:cubicBezTo>
                  <a:pt x="835" y="304"/>
                  <a:pt x="835" y="304"/>
                  <a:pt x="835" y="304"/>
                </a:cubicBezTo>
                <a:cubicBezTo>
                  <a:pt x="835" y="209"/>
                  <a:pt x="835" y="209"/>
                  <a:pt x="835" y="209"/>
                </a:cubicBezTo>
                <a:cubicBezTo>
                  <a:pt x="847" y="206"/>
                  <a:pt x="847" y="206"/>
                  <a:pt x="847" y="206"/>
                </a:cubicBezTo>
                <a:cubicBezTo>
                  <a:pt x="878" y="0"/>
                  <a:pt x="878" y="0"/>
                  <a:pt x="878" y="0"/>
                </a:cubicBezTo>
                <a:cubicBezTo>
                  <a:pt x="910" y="204"/>
                  <a:pt x="910" y="204"/>
                  <a:pt x="910" y="204"/>
                </a:cubicBezTo>
                <a:cubicBezTo>
                  <a:pt x="924" y="205"/>
                  <a:pt x="924" y="205"/>
                  <a:pt x="924" y="205"/>
                </a:cubicBezTo>
                <a:cubicBezTo>
                  <a:pt x="924" y="337"/>
                  <a:pt x="924" y="337"/>
                  <a:pt x="924" y="337"/>
                </a:cubicBezTo>
                <a:cubicBezTo>
                  <a:pt x="961" y="375"/>
                  <a:pt x="961" y="375"/>
                  <a:pt x="961" y="375"/>
                </a:cubicBezTo>
                <a:cubicBezTo>
                  <a:pt x="1017" y="375"/>
                  <a:pt x="1017" y="375"/>
                  <a:pt x="1017" y="375"/>
                </a:cubicBezTo>
                <a:cubicBezTo>
                  <a:pt x="1017" y="311"/>
                  <a:pt x="1017" y="311"/>
                  <a:pt x="1017" y="311"/>
                </a:cubicBezTo>
                <a:cubicBezTo>
                  <a:pt x="1017" y="311"/>
                  <a:pt x="998" y="307"/>
                  <a:pt x="998" y="298"/>
                </a:cubicBezTo>
                <a:cubicBezTo>
                  <a:pt x="998" y="290"/>
                  <a:pt x="1017" y="286"/>
                  <a:pt x="1017" y="286"/>
                </a:cubicBezTo>
                <a:cubicBezTo>
                  <a:pt x="1017" y="275"/>
                  <a:pt x="1017" y="275"/>
                  <a:pt x="1017" y="275"/>
                </a:cubicBezTo>
                <a:cubicBezTo>
                  <a:pt x="1034" y="258"/>
                  <a:pt x="1034" y="258"/>
                  <a:pt x="1034" y="258"/>
                </a:cubicBezTo>
                <a:cubicBezTo>
                  <a:pt x="1058" y="180"/>
                  <a:pt x="1058" y="180"/>
                  <a:pt x="1058" y="180"/>
                </a:cubicBezTo>
                <a:cubicBezTo>
                  <a:pt x="1077" y="258"/>
                  <a:pt x="1077" y="258"/>
                  <a:pt x="1077" y="258"/>
                </a:cubicBezTo>
                <a:cubicBezTo>
                  <a:pt x="1096" y="272"/>
                  <a:pt x="1096" y="272"/>
                  <a:pt x="1096" y="272"/>
                </a:cubicBezTo>
                <a:cubicBezTo>
                  <a:pt x="1096" y="286"/>
                  <a:pt x="1096" y="286"/>
                  <a:pt x="1096" y="286"/>
                </a:cubicBezTo>
                <a:cubicBezTo>
                  <a:pt x="1096" y="286"/>
                  <a:pt x="1112" y="290"/>
                  <a:pt x="1112" y="299"/>
                </a:cubicBezTo>
                <a:cubicBezTo>
                  <a:pt x="1112" y="308"/>
                  <a:pt x="1096" y="310"/>
                  <a:pt x="1096" y="310"/>
                </a:cubicBezTo>
                <a:cubicBezTo>
                  <a:pt x="1096" y="403"/>
                  <a:pt x="1096" y="403"/>
                  <a:pt x="1096" y="403"/>
                </a:cubicBezTo>
                <a:cubicBezTo>
                  <a:pt x="1115" y="403"/>
                  <a:pt x="1115" y="403"/>
                  <a:pt x="1115" y="403"/>
                </a:cubicBezTo>
                <a:cubicBezTo>
                  <a:pt x="1129" y="388"/>
                  <a:pt x="1129" y="388"/>
                  <a:pt x="1129" y="388"/>
                </a:cubicBezTo>
                <a:cubicBezTo>
                  <a:pt x="1167" y="388"/>
                  <a:pt x="1167" y="388"/>
                  <a:pt x="1167" y="388"/>
                </a:cubicBezTo>
                <a:cubicBezTo>
                  <a:pt x="1167" y="375"/>
                  <a:pt x="1167" y="375"/>
                  <a:pt x="1167" y="375"/>
                </a:cubicBezTo>
                <a:cubicBezTo>
                  <a:pt x="1295" y="375"/>
                  <a:pt x="1295" y="375"/>
                  <a:pt x="1295" y="375"/>
                </a:cubicBezTo>
                <a:cubicBezTo>
                  <a:pt x="1295" y="383"/>
                  <a:pt x="1295" y="383"/>
                  <a:pt x="1295" y="383"/>
                </a:cubicBezTo>
                <a:cubicBezTo>
                  <a:pt x="1332" y="383"/>
                  <a:pt x="1332" y="383"/>
                  <a:pt x="1332" y="383"/>
                </a:cubicBezTo>
                <a:cubicBezTo>
                  <a:pt x="1342" y="395"/>
                  <a:pt x="1342" y="395"/>
                  <a:pt x="1342" y="395"/>
                </a:cubicBezTo>
                <a:cubicBezTo>
                  <a:pt x="1342" y="435"/>
                  <a:pt x="1342" y="435"/>
                  <a:pt x="1342" y="435"/>
                </a:cubicBezTo>
                <a:cubicBezTo>
                  <a:pt x="1384" y="435"/>
                  <a:pt x="1384" y="435"/>
                  <a:pt x="1384" y="435"/>
                </a:cubicBezTo>
                <a:cubicBezTo>
                  <a:pt x="1399" y="419"/>
                  <a:pt x="1399" y="419"/>
                  <a:pt x="1399" y="419"/>
                </a:cubicBezTo>
                <a:cubicBezTo>
                  <a:pt x="1414" y="431"/>
                  <a:pt x="1414" y="431"/>
                  <a:pt x="1414" y="431"/>
                </a:cubicBezTo>
                <a:cubicBezTo>
                  <a:pt x="1443" y="431"/>
                  <a:pt x="1443" y="431"/>
                  <a:pt x="1443" y="431"/>
                </a:cubicBezTo>
                <a:cubicBezTo>
                  <a:pt x="1462" y="412"/>
                  <a:pt x="1462" y="412"/>
                  <a:pt x="1462" y="412"/>
                </a:cubicBezTo>
                <a:cubicBezTo>
                  <a:pt x="1482" y="429"/>
                  <a:pt x="1482" y="429"/>
                  <a:pt x="1482" y="429"/>
                </a:cubicBezTo>
                <a:cubicBezTo>
                  <a:pt x="1539" y="429"/>
                  <a:pt x="1539" y="429"/>
                  <a:pt x="1539" y="429"/>
                </a:cubicBezTo>
                <a:cubicBezTo>
                  <a:pt x="1553" y="415"/>
                  <a:pt x="1553" y="415"/>
                  <a:pt x="1553" y="415"/>
                </a:cubicBezTo>
                <a:cubicBezTo>
                  <a:pt x="1566" y="427"/>
                  <a:pt x="1566" y="427"/>
                  <a:pt x="1566" y="427"/>
                </a:cubicBezTo>
                <a:cubicBezTo>
                  <a:pt x="1588" y="427"/>
                  <a:pt x="1588" y="427"/>
                  <a:pt x="1588" y="427"/>
                </a:cubicBezTo>
                <a:cubicBezTo>
                  <a:pt x="1588" y="497"/>
                  <a:pt x="1588" y="497"/>
                  <a:pt x="1588" y="497"/>
                </a:cubicBezTo>
                <a:cubicBezTo>
                  <a:pt x="1624" y="497"/>
                  <a:pt x="1624" y="497"/>
                  <a:pt x="1624" y="497"/>
                </a:cubicBezTo>
                <a:cubicBezTo>
                  <a:pt x="1624" y="443"/>
                  <a:pt x="1624" y="443"/>
                  <a:pt x="1624" y="443"/>
                </a:cubicBezTo>
                <a:cubicBezTo>
                  <a:pt x="1603" y="443"/>
                  <a:pt x="1603" y="443"/>
                  <a:pt x="1603" y="443"/>
                </a:cubicBezTo>
                <a:cubicBezTo>
                  <a:pt x="1629" y="427"/>
                  <a:pt x="1629" y="427"/>
                  <a:pt x="1629" y="427"/>
                </a:cubicBezTo>
                <a:cubicBezTo>
                  <a:pt x="1629" y="406"/>
                  <a:pt x="1629" y="406"/>
                  <a:pt x="1629" y="406"/>
                </a:cubicBezTo>
                <a:cubicBezTo>
                  <a:pt x="1658" y="406"/>
                  <a:pt x="1658" y="406"/>
                  <a:pt x="1658" y="406"/>
                </a:cubicBezTo>
                <a:cubicBezTo>
                  <a:pt x="1677" y="390"/>
                  <a:pt x="1677" y="390"/>
                  <a:pt x="1677" y="390"/>
                </a:cubicBezTo>
                <a:cubicBezTo>
                  <a:pt x="1697" y="406"/>
                  <a:pt x="1697" y="406"/>
                  <a:pt x="1697" y="406"/>
                </a:cubicBezTo>
                <a:cubicBezTo>
                  <a:pt x="1727" y="406"/>
                  <a:pt x="1727" y="406"/>
                  <a:pt x="1727" y="406"/>
                </a:cubicBezTo>
                <a:cubicBezTo>
                  <a:pt x="1727" y="431"/>
                  <a:pt x="1727" y="431"/>
                  <a:pt x="1727" y="431"/>
                </a:cubicBezTo>
                <a:cubicBezTo>
                  <a:pt x="1747" y="431"/>
                  <a:pt x="1747" y="431"/>
                  <a:pt x="1747" y="431"/>
                </a:cubicBezTo>
                <a:cubicBezTo>
                  <a:pt x="1747" y="396"/>
                  <a:pt x="1747" y="396"/>
                  <a:pt x="1747" y="396"/>
                </a:cubicBezTo>
                <a:cubicBezTo>
                  <a:pt x="1768" y="375"/>
                  <a:pt x="1768" y="375"/>
                  <a:pt x="1768" y="375"/>
                </a:cubicBezTo>
                <a:cubicBezTo>
                  <a:pt x="1768" y="355"/>
                  <a:pt x="1768" y="355"/>
                  <a:pt x="1768" y="355"/>
                </a:cubicBezTo>
                <a:cubicBezTo>
                  <a:pt x="1793" y="355"/>
                  <a:pt x="1793" y="355"/>
                  <a:pt x="1793" y="355"/>
                </a:cubicBezTo>
                <a:cubicBezTo>
                  <a:pt x="1823" y="329"/>
                  <a:pt x="1823" y="329"/>
                  <a:pt x="1823" y="329"/>
                </a:cubicBezTo>
                <a:cubicBezTo>
                  <a:pt x="1926" y="329"/>
                  <a:pt x="1926" y="329"/>
                  <a:pt x="1926" y="329"/>
                </a:cubicBezTo>
                <a:cubicBezTo>
                  <a:pt x="1926" y="307"/>
                  <a:pt x="1926" y="307"/>
                  <a:pt x="1926" y="307"/>
                </a:cubicBezTo>
                <a:cubicBezTo>
                  <a:pt x="1918" y="307"/>
                  <a:pt x="1918" y="307"/>
                  <a:pt x="1918" y="307"/>
                </a:cubicBezTo>
                <a:cubicBezTo>
                  <a:pt x="1918" y="271"/>
                  <a:pt x="1918" y="271"/>
                  <a:pt x="1918" y="271"/>
                </a:cubicBezTo>
                <a:cubicBezTo>
                  <a:pt x="1928" y="271"/>
                  <a:pt x="1928" y="271"/>
                  <a:pt x="1928" y="271"/>
                </a:cubicBezTo>
                <a:cubicBezTo>
                  <a:pt x="1928" y="244"/>
                  <a:pt x="1928" y="244"/>
                  <a:pt x="1928" y="244"/>
                </a:cubicBezTo>
                <a:cubicBezTo>
                  <a:pt x="1937" y="244"/>
                  <a:pt x="1937" y="244"/>
                  <a:pt x="1937" y="244"/>
                </a:cubicBezTo>
                <a:cubicBezTo>
                  <a:pt x="1937" y="272"/>
                  <a:pt x="1937" y="272"/>
                  <a:pt x="1937" y="272"/>
                </a:cubicBezTo>
                <a:cubicBezTo>
                  <a:pt x="1947" y="272"/>
                  <a:pt x="1947" y="272"/>
                  <a:pt x="1947" y="272"/>
                </a:cubicBezTo>
                <a:cubicBezTo>
                  <a:pt x="1947" y="306"/>
                  <a:pt x="1947" y="306"/>
                  <a:pt x="1947" y="306"/>
                </a:cubicBezTo>
                <a:cubicBezTo>
                  <a:pt x="1940" y="306"/>
                  <a:pt x="1940" y="306"/>
                  <a:pt x="1940" y="306"/>
                </a:cubicBezTo>
                <a:cubicBezTo>
                  <a:pt x="1940" y="329"/>
                  <a:pt x="1940" y="329"/>
                  <a:pt x="1940" y="329"/>
                </a:cubicBezTo>
                <a:cubicBezTo>
                  <a:pt x="1966" y="329"/>
                  <a:pt x="1966" y="329"/>
                  <a:pt x="1966" y="329"/>
                </a:cubicBezTo>
                <a:cubicBezTo>
                  <a:pt x="1994" y="375"/>
                  <a:pt x="1994" y="375"/>
                  <a:pt x="1994" y="375"/>
                </a:cubicBezTo>
                <a:cubicBezTo>
                  <a:pt x="2054" y="375"/>
                  <a:pt x="2054" y="375"/>
                  <a:pt x="2054" y="375"/>
                </a:cubicBezTo>
                <a:cubicBezTo>
                  <a:pt x="2054" y="329"/>
                  <a:pt x="2054" y="329"/>
                  <a:pt x="2054" y="329"/>
                </a:cubicBezTo>
                <a:cubicBezTo>
                  <a:pt x="2074" y="321"/>
                  <a:pt x="2074" y="321"/>
                  <a:pt x="2074" y="321"/>
                </a:cubicBezTo>
                <a:cubicBezTo>
                  <a:pt x="2074" y="258"/>
                  <a:pt x="2074" y="258"/>
                  <a:pt x="2074" y="258"/>
                </a:cubicBezTo>
                <a:cubicBezTo>
                  <a:pt x="2082" y="258"/>
                  <a:pt x="2082" y="258"/>
                  <a:pt x="2082" y="258"/>
                </a:cubicBezTo>
                <a:cubicBezTo>
                  <a:pt x="2082" y="166"/>
                  <a:pt x="2082" y="166"/>
                  <a:pt x="2082" y="166"/>
                </a:cubicBezTo>
                <a:cubicBezTo>
                  <a:pt x="2091" y="166"/>
                  <a:pt x="2091" y="166"/>
                  <a:pt x="2091" y="166"/>
                </a:cubicBezTo>
                <a:cubicBezTo>
                  <a:pt x="2091" y="104"/>
                  <a:pt x="2091" y="104"/>
                  <a:pt x="2091" y="104"/>
                </a:cubicBezTo>
                <a:cubicBezTo>
                  <a:pt x="2103" y="104"/>
                  <a:pt x="2103" y="104"/>
                  <a:pt x="2103" y="104"/>
                </a:cubicBezTo>
                <a:cubicBezTo>
                  <a:pt x="2103" y="83"/>
                  <a:pt x="2103" y="83"/>
                  <a:pt x="2103" y="83"/>
                </a:cubicBezTo>
                <a:cubicBezTo>
                  <a:pt x="2103" y="83"/>
                  <a:pt x="2103" y="58"/>
                  <a:pt x="2129" y="58"/>
                </a:cubicBezTo>
                <a:cubicBezTo>
                  <a:pt x="2154" y="58"/>
                  <a:pt x="2156" y="83"/>
                  <a:pt x="2156" y="83"/>
                </a:cubicBezTo>
                <a:cubicBezTo>
                  <a:pt x="2156" y="104"/>
                  <a:pt x="2156" y="104"/>
                  <a:pt x="2156" y="104"/>
                </a:cubicBezTo>
                <a:cubicBezTo>
                  <a:pt x="2164" y="104"/>
                  <a:pt x="2164" y="104"/>
                  <a:pt x="2164" y="104"/>
                </a:cubicBezTo>
                <a:cubicBezTo>
                  <a:pt x="2164" y="164"/>
                  <a:pt x="2164" y="164"/>
                  <a:pt x="2164" y="164"/>
                </a:cubicBezTo>
                <a:cubicBezTo>
                  <a:pt x="2171" y="164"/>
                  <a:pt x="2171" y="164"/>
                  <a:pt x="2171" y="164"/>
                </a:cubicBezTo>
                <a:cubicBezTo>
                  <a:pt x="2171" y="257"/>
                  <a:pt x="2171" y="257"/>
                  <a:pt x="2171" y="257"/>
                </a:cubicBezTo>
                <a:cubicBezTo>
                  <a:pt x="2180" y="257"/>
                  <a:pt x="2180" y="257"/>
                  <a:pt x="2180" y="257"/>
                </a:cubicBezTo>
                <a:cubicBezTo>
                  <a:pt x="2180" y="164"/>
                  <a:pt x="2180" y="164"/>
                  <a:pt x="2180" y="164"/>
                </a:cubicBezTo>
                <a:cubicBezTo>
                  <a:pt x="2183" y="164"/>
                  <a:pt x="2183" y="164"/>
                  <a:pt x="2183" y="164"/>
                </a:cubicBezTo>
                <a:cubicBezTo>
                  <a:pt x="2183" y="104"/>
                  <a:pt x="2183" y="104"/>
                  <a:pt x="2183" y="104"/>
                </a:cubicBezTo>
                <a:cubicBezTo>
                  <a:pt x="2197" y="104"/>
                  <a:pt x="2197" y="104"/>
                  <a:pt x="2197" y="104"/>
                </a:cubicBezTo>
                <a:cubicBezTo>
                  <a:pt x="2197" y="83"/>
                  <a:pt x="2197" y="83"/>
                  <a:pt x="2197" y="83"/>
                </a:cubicBezTo>
                <a:cubicBezTo>
                  <a:pt x="2197" y="83"/>
                  <a:pt x="2197" y="58"/>
                  <a:pt x="2222" y="58"/>
                </a:cubicBezTo>
                <a:cubicBezTo>
                  <a:pt x="2248" y="58"/>
                  <a:pt x="2250" y="83"/>
                  <a:pt x="2250" y="83"/>
                </a:cubicBezTo>
                <a:cubicBezTo>
                  <a:pt x="2250" y="104"/>
                  <a:pt x="2250" y="104"/>
                  <a:pt x="2250" y="104"/>
                </a:cubicBezTo>
                <a:cubicBezTo>
                  <a:pt x="2256" y="104"/>
                  <a:pt x="2256" y="104"/>
                  <a:pt x="2256" y="104"/>
                </a:cubicBezTo>
                <a:cubicBezTo>
                  <a:pt x="2256" y="167"/>
                  <a:pt x="2256" y="167"/>
                  <a:pt x="2256" y="167"/>
                </a:cubicBezTo>
                <a:cubicBezTo>
                  <a:pt x="2264" y="167"/>
                  <a:pt x="2264" y="167"/>
                  <a:pt x="2264" y="167"/>
                </a:cubicBezTo>
                <a:cubicBezTo>
                  <a:pt x="2264" y="258"/>
                  <a:pt x="2264" y="258"/>
                  <a:pt x="2264" y="258"/>
                </a:cubicBezTo>
                <a:cubicBezTo>
                  <a:pt x="2406" y="258"/>
                  <a:pt x="2406" y="258"/>
                  <a:pt x="2406" y="258"/>
                </a:cubicBezTo>
                <a:cubicBezTo>
                  <a:pt x="2406" y="241"/>
                  <a:pt x="2406" y="241"/>
                  <a:pt x="2406" y="241"/>
                </a:cubicBezTo>
                <a:cubicBezTo>
                  <a:pt x="2396" y="241"/>
                  <a:pt x="2396" y="241"/>
                  <a:pt x="2396" y="241"/>
                </a:cubicBezTo>
                <a:cubicBezTo>
                  <a:pt x="2396" y="230"/>
                  <a:pt x="2396" y="230"/>
                  <a:pt x="2396" y="230"/>
                </a:cubicBezTo>
                <a:cubicBezTo>
                  <a:pt x="2406" y="230"/>
                  <a:pt x="2406" y="230"/>
                  <a:pt x="2406" y="230"/>
                </a:cubicBezTo>
                <a:cubicBezTo>
                  <a:pt x="2406" y="192"/>
                  <a:pt x="2406" y="192"/>
                  <a:pt x="2406" y="192"/>
                </a:cubicBezTo>
                <a:cubicBezTo>
                  <a:pt x="2413" y="192"/>
                  <a:pt x="2413" y="192"/>
                  <a:pt x="2413" y="192"/>
                </a:cubicBezTo>
                <a:cubicBezTo>
                  <a:pt x="2413" y="158"/>
                  <a:pt x="2413" y="158"/>
                  <a:pt x="2413" y="158"/>
                </a:cubicBezTo>
                <a:cubicBezTo>
                  <a:pt x="2413" y="150"/>
                  <a:pt x="2413" y="150"/>
                  <a:pt x="2413" y="150"/>
                </a:cubicBezTo>
                <a:cubicBezTo>
                  <a:pt x="2424" y="150"/>
                  <a:pt x="2424" y="150"/>
                  <a:pt x="2424" y="150"/>
                </a:cubicBezTo>
                <a:cubicBezTo>
                  <a:pt x="2424" y="192"/>
                  <a:pt x="2424" y="192"/>
                  <a:pt x="2424" y="192"/>
                </a:cubicBezTo>
                <a:cubicBezTo>
                  <a:pt x="2429" y="192"/>
                  <a:pt x="2429" y="192"/>
                  <a:pt x="2429" y="192"/>
                </a:cubicBezTo>
                <a:cubicBezTo>
                  <a:pt x="2429" y="230"/>
                  <a:pt x="2429" y="230"/>
                  <a:pt x="2429" y="230"/>
                </a:cubicBezTo>
                <a:cubicBezTo>
                  <a:pt x="2442" y="230"/>
                  <a:pt x="2442" y="230"/>
                  <a:pt x="2442" y="230"/>
                </a:cubicBezTo>
                <a:cubicBezTo>
                  <a:pt x="2442" y="241"/>
                  <a:pt x="2442" y="241"/>
                  <a:pt x="2442" y="241"/>
                </a:cubicBezTo>
                <a:cubicBezTo>
                  <a:pt x="2429" y="241"/>
                  <a:pt x="2429" y="241"/>
                  <a:pt x="2429" y="241"/>
                </a:cubicBezTo>
                <a:cubicBezTo>
                  <a:pt x="2429" y="258"/>
                  <a:pt x="2429" y="258"/>
                  <a:pt x="2429" y="258"/>
                </a:cubicBezTo>
                <a:cubicBezTo>
                  <a:pt x="2455" y="258"/>
                  <a:pt x="2455" y="258"/>
                  <a:pt x="2455" y="258"/>
                </a:cubicBezTo>
                <a:cubicBezTo>
                  <a:pt x="2482" y="286"/>
                  <a:pt x="2482" y="286"/>
                  <a:pt x="2482" y="286"/>
                </a:cubicBezTo>
                <a:cubicBezTo>
                  <a:pt x="2514" y="286"/>
                  <a:pt x="2514" y="286"/>
                  <a:pt x="2514" y="286"/>
                </a:cubicBezTo>
                <a:cubicBezTo>
                  <a:pt x="2514" y="333"/>
                  <a:pt x="2514" y="333"/>
                  <a:pt x="2514" y="333"/>
                </a:cubicBezTo>
                <a:cubicBezTo>
                  <a:pt x="2556" y="333"/>
                  <a:pt x="2556" y="333"/>
                  <a:pt x="2556" y="333"/>
                </a:cubicBezTo>
                <a:cubicBezTo>
                  <a:pt x="2556" y="363"/>
                  <a:pt x="2556" y="363"/>
                  <a:pt x="2556" y="363"/>
                </a:cubicBezTo>
                <a:cubicBezTo>
                  <a:pt x="2599" y="363"/>
                  <a:pt x="2599" y="363"/>
                  <a:pt x="2599" y="363"/>
                </a:cubicBezTo>
                <a:cubicBezTo>
                  <a:pt x="2599" y="343"/>
                  <a:pt x="2599" y="343"/>
                  <a:pt x="2599" y="343"/>
                </a:cubicBezTo>
                <a:cubicBezTo>
                  <a:pt x="2621" y="343"/>
                  <a:pt x="2621" y="343"/>
                  <a:pt x="2621" y="343"/>
                </a:cubicBezTo>
                <a:cubicBezTo>
                  <a:pt x="2673" y="391"/>
                  <a:pt x="2673" y="391"/>
                  <a:pt x="2673" y="391"/>
                </a:cubicBezTo>
                <a:cubicBezTo>
                  <a:pt x="2770" y="391"/>
                  <a:pt x="2770" y="391"/>
                  <a:pt x="2770" y="391"/>
                </a:cubicBezTo>
                <a:cubicBezTo>
                  <a:pt x="2770" y="363"/>
                  <a:pt x="2770" y="363"/>
                  <a:pt x="2770" y="363"/>
                </a:cubicBezTo>
                <a:cubicBezTo>
                  <a:pt x="2819" y="363"/>
                  <a:pt x="2819" y="363"/>
                  <a:pt x="2819" y="363"/>
                </a:cubicBezTo>
                <a:cubicBezTo>
                  <a:pt x="2819" y="453"/>
                  <a:pt x="2819" y="453"/>
                  <a:pt x="2819" y="453"/>
                </a:cubicBezTo>
                <a:cubicBezTo>
                  <a:pt x="2869" y="453"/>
                  <a:pt x="2869" y="453"/>
                  <a:pt x="2869" y="453"/>
                </a:cubicBezTo>
                <a:cubicBezTo>
                  <a:pt x="2869" y="423"/>
                  <a:pt x="2869" y="423"/>
                  <a:pt x="2869" y="423"/>
                </a:cubicBezTo>
                <a:cubicBezTo>
                  <a:pt x="2915" y="423"/>
                  <a:pt x="2915" y="423"/>
                  <a:pt x="2915" y="423"/>
                </a:cubicBezTo>
                <a:cubicBezTo>
                  <a:pt x="2915" y="545"/>
                  <a:pt x="2915" y="545"/>
                  <a:pt x="2915" y="545"/>
                </a:cubicBezTo>
                <a:cubicBezTo>
                  <a:pt x="1741" y="545"/>
                  <a:pt x="1741" y="545"/>
                  <a:pt x="1741" y="545"/>
                </a:cubicBezTo>
                <a:cubicBezTo>
                  <a:pt x="1741" y="527"/>
                  <a:pt x="1719" y="512"/>
                  <a:pt x="1692" y="512"/>
                </a:cubicBezTo>
                <a:cubicBezTo>
                  <a:pt x="1664" y="512"/>
                  <a:pt x="1642" y="527"/>
                  <a:pt x="1642" y="545"/>
                </a:cubicBezTo>
                <a:cubicBezTo>
                  <a:pt x="1630" y="545"/>
                  <a:pt x="1630" y="545"/>
                  <a:pt x="1630" y="545"/>
                </a:cubicBezTo>
                <a:cubicBezTo>
                  <a:pt x="1630" y="527"/>
                  <a:pt x="1607" y="512"/>
                  <a:pt x="1580" y="512"/>
                </a:cubicBezTo>
                <a:cubicBezTo>
                  <a:pt x="1553" y="512"/>
                  <a:pt x="1531" y="527"/>
                  <a:pt x="1531" y="545"/>
                </a:cubicBezTo>
                <a:cubicBezTo>
                  <a:pt x="1511" y="545"/>
                  <a:pt x="1511" y="545"/>
                  <a:pt x="1511" y="545"/>
                </a:cubicBezTo>
                <a:cubicBezTo>
                  <a:pt x="1511" y="527"/>
                  <a:pt x="1489" y="512"/>
                  <a:pt x="1462" y="512"/>
                </a:cubicBezTo>
                <a:cubicBezTo>
                  <a:pt x="1435" y="512"/>
                  <a:pt x="1413" y="527"/>
                  <a:pt x="1413" y="545"/>
                </a:cubicBezTo>
                <a:cubicBezTo>
                  <a:pt x="1399" y="545"/>
                  <a:pt x="1399" y="545"/>
                  <a:pt x="1399" y="545"/>
                </a:cubicBezTo>
                <a:cubicBezTo>
                  <a:pt x="1399" y="527"/>
                  <a:pt x="1377" y="512"/>
                  <a:pt x="1350" y="512"/>
                </a:cubicBezTo>
                <a:cubicBezTo>
                  <a:pt x="1323" y="512"/>
                  <a:pt x="1301" y="527"/>
                  <a:pt x="1301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29"/>
                  <a:pt x="0" y="29"/>
                  <a:pt x="0" y="29"/>
                </a:cubicBezTo>
                <a:cubicBezTo>
                  <a:pt x="84" y="106"/>
                  <a:pt x="84" y="106"/>
                  <a:pt x="84" y="106"/>
                </a:cubicBezTo>
                <a:cubicBezTo>
                  <a:pt x="93" y="100"/>
                  <a:pt x="93" y="100"/>
                  <a:pt x="93" y="100"/>
                </a:cubicBezTo>
                <a:cubicBezTo>
                  <a:pt x="122" y="152"/>
                  <a:pt x="122" y="152"/>
                  <a:pt x="122" y="152"/>
                </a:cubicBezTo>
                <a:cubicBezTo>
                  <a:pt x="141" y="144"/>
                  <a:pt x="141" y="144"/>
                  <a:pt x="141" y="144"/>
                </a:cubicBezTo>
                <a:cubicBezTo>
                  <a:pt x="170" y="171"/>
                  <a:pt x="170" y="171"/>
                  <a:pt x="170" y="171"/>
                </a:cubicBezTo>
                <a:cubicBezTo>
                  <a:pt x="187" y="171"/>
                  <a:pt x="187" y="171"/>
                  <a:pt x="187" y="171"/>
                </a:cubicBezTo>
                <a:cubicBezTo>
                  <a:pt x="241" y="148"/>
                  <a:pt x="241" y="148"/>
                  <a:pt x="241" y="148"/>
                </a:cubicBezTo>
                <a:cubicBezTo>
                  <a:pt x="290" y="148"/>
                  <a:pt x="290" y="148"/>
                  <a:pt x="290" y="148"/>
                </a:cubicBezTo>
                <a:cubicBezTo>
                  <a:pt x="309" y="130"/>
                  <a:pt x="309" y="130"/>
                  <a:pt x="309" y="130"/>
                </a:cubicBezTo>
                <a:cubicBezTo>
                  <a:pt x="340" y="187"/>
                  <a:pt x="340" y="187"/>
                  <a:pt x="340" y="187"/>
                </a:cubicBezTo>
                <a:cubicBezTo>
                  <a:pt x="410" y="162"/>
                  <a:pt x="410" y="162"/>
                  <a:pt x="410" y="162"/>
                </a:cubicBezTo>
                <a:lnTo>
                  <a:pt x="490" y="259"/>
                </a:lnTo>
                <a:close/>
              </a:path>
            </a:pathLst>
          </a:custGeom>
          <a:solidFill>
            <a:schemeClr val="tx1">
              <a:alpha val="2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CH" sz="1800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3796650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1199456" y="1484784"/>
            <a:ext cx="10512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>
          <a:xfrm rot="16200000">
            <a:off x="-1645334" y="3392999"/>
            <a:ext cx="4105278" cy="287903"/>
          </a:xfrm>
        </p:spPr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6" y="332656"/>
            <a:ext cx="10512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097417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solidFill>
            <a:srgbClr val="DDE3E7"/>
          </a:solidFill>
        </p:spPr>
        <p:txBody>
          <a:bodyPr lIns="9432000" rIns="50400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GB"/>
              <a:t>To add a picture, please right click the image placeholder and bring it to front. </a:t>
            </a:r>
            <a:br>
              <a:rPr lang="en-GB"/>
            </a:br>
            <a:br>
              <a:rPr lang="en-GB"/>
            </a:br>
            <a:r>
              <a:rPr lang="en-GB"/>
              <a:t>You can now insert a picture by clicking on the placeholder image icon. Then click the Reset button on the Home menu tab to send the picture to background.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DB9E957-3F55-4CEB-ABFA-916F4BB161AA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263352" y="5120522"/>
            <a:ext cx="234000" cy="1260806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black">
          <a:xfrm>
            <a:off x="1199456" y="333375"/>
            <a:ext cx="8208000" cy="3239002"/>
          </a:xfrm>
        </p:spPr>
        <p:txBody>
          <a:bodyPr tIns="0" bIns="0" anchor="b"/>
          <a:lstStyle>
            <a:lvl1pPr algn="l">
              <a:lnSpc>
                <a:spcPct val="90000"/>
              </a:lnSpc>
              <a:defRPr sz="6600" b="1" i="0" spc="-150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/>
              <a:t>Click to edit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1199456" y="3716313"/>
            <a:ext cx="8208000" cy="720000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/>
              <a:t>Click to edit subline</a:t>
            </a:r>
          </a:p>
          <a:p>
            <a:pPr lvl="1"/>
            <a:r>
              <a:rPr lang="en-GB"/>
              <a:t>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82FBF00-184A-445D-86C9-C33582C6762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5600" y="360000"/>
            <a:ext cx="342000" cy="460800"/>
          </a:xfr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1DE48AB-B208-4189-8089-DC7BC55579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9456" y="5697252"/>
            <a:ext cx="8208912" cy="6840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9pPr>
          </a:lstStyle>
          <a:p>
            <a:r>
              <a:rPr lang="en-GB"/>
              <a:t>C2 Internal</a:t>
            </a:r>
          </a:p>
        </p:txBody>
      </p:sp>
    </p:spTree>
    <p:extLst>
      <p:ext uri="{BB962C8B-B14F-4D97-AF65-F5344CB8AC3E}">
        <p14:creationId xmlns:p14="http://schemas.microsoft.com/office/powerpoint/2010/main" val="7148257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7C4B535-EC52-4CF4-B9BE-3BC9700663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3279" y="1484313"/>
            <a:ext cx="8109296" cy="489743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87113FC-C0DE-475B-B48F-F341EA6D3B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68689" y="5122052"/>
            <a:ext cx="234000" cy="125927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black">
          <a:xfrm>
            <a:off x="1199456" y="333375"/>
            <a:ext cx="8208000" cy="3238922"/>
          </a:xfrm>
        </p:spPr>
        <p:txBody>
          <a:bodyPr tIns="0" bIns="0" anchor="b"/>
          <a:lstStyle>
            <a:lvl1pPr algn="l">
              <a:lnSpc>
                <a:spcPct val="90000"/>
              </a:lnSpc>
              <a:defRPr sz="6600" b="1" i="0" spc="-150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/>
              <a:t>Click to edit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1199456" y="3716313"/>
            <a:ext cx="8208912" cy="720000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/>
              <a:t>Click to edit subline</a:t>
            </a:r>
          </a:p>
          <a:p>
            <a:pPr lvl="1"/>
            <a:r>
              <a:rPr lang="en-GB"/>
              <a:t>Level 2</a:t>
            </a:r>
          </a:p>
          <a:p>
            <a:endParaRPr lang="en-GB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88788FE-2FC8-4F5B-B883-59F33B86B1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9456" y="5697252"/>
            <a:ext cx="8208912" cy="6840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2"/>
                </a:solidFill>
              </a:defRPr>
            </a:lvl9pPr>
          </a:lstStyle>
          <a:p>
            <a:r>
              <a:rPr lang="en-GB"/>
              <a:t>C2 Internal</a:t>
            </a:r>
          </a:p>
        </p:txBody>
      </p:sp>
    </p:spTree>
    <p:extLst>
      <p:ext uri="{BB962C8B-B14F-4D97-AF65-F5344CB8AC3E}">
        <p14:creationId xmlns:p14="http://schemas.microsoft.com/office/powerpoint/2010/main" val="15470000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C932D0D-2845-4C0F-8A35-71A52A42FF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12000" y="936000"/>
            <a:ext cx="9900000" cy="5568750"/>
          </a:xfrm>
          <a:prstGeom prst="rect">
            <a:avLst/>
          </a:prstGeom>
          <a:ln>
            <a:noFill/>
          </a:ln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1199456" y="1484313"/>
            <a:ext cx="8208000" cy="2160711"/>
          </a:xfrm>
        </p:spPr>
        <p:txBody>
          <a:bodyPr lIns="0" tIns="0" bIns="50400" anchor="b"/>
          <a:lstStyle>
            <a:lvl1pPr>
              <a:lnSpc>
                <a:spcPct val="90000"/>
              </a:lnSpc>
              <a:defRPr sz="4400" b="1" spc="-50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/>
              <a:t>Divide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 bwMode="black">
          <a:xfrm>
            <a:off x="1200026" y="3717032"/>
            <a:ext cx="8208000" cy="1872556"/>
          </a:xfrm>
        </p:spPr>
        <p:txBody>
          <a:bodyPr lIns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/>
              <a:t>Optional short description of the current chapter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 rot="16200000">
            <a:off x="-1645334" y="3392999"/>
            <a:ext cx="4105278" cy="28790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38442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| 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172BFDC-25B3-4B53-8F94-0FA71FB9C7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199456" y="1484313"/>
            <a:ext cx="8208000" cy="2160711"/>
          </a:xfrm>
        </p:spPr>
        <p:txBody>
          <a:bodyPr tIns="0" bIns="50400" anchor="b"/>
          <a:lstStyle>
            <a:lvl1pPr>
              <a:lnSpc>
                <a:spcPct val="90000"/>
              </a:lnSpc>
              <a:defRPr sz="4400" b="1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Divide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200026" y="3717032"/>
            <a:ext cx="8208000" cy="18722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 spc="-50" baseline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GB"/>
              <a:t>Optional short description of the current chapter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05E948-0429-4BA5-BE6A-0FB567FE17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600" y="360000"/>
            <a:ext cx="342000" cy="462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0802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ing |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1199456" y="1484784"/>
            <a:ext cx="5112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>
          <a:xfrm rot="16200000">
            <a:off x="-1645334" y="3392999"/>
            <a:ext cx="4105278" cy="287903"/>
          </a:xfrm>
        </p:spPr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6" y="332656"/>
            <a:ext cx="10512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titl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56772B1F-B86A-452C-8BEE-2355B59EA550}"/>
              </a:ext>
            </a:extLst>
          </p:cNvPr>
          <p:cNvSpPr>
            <a:spLocks noGrp="1"/>
          </p:cNvSpPr>
          <p:nvPr>
            <p:ph idx="16" hasCustomPrompt="1"/>
          </p:nvPr>
        </p:nvSpPr>
        <p:spPr bwMode="black">
          <a:xfrm>
            <a:off x="6600056" y="1484784"/>
            <a:ext cx="5112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33929232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6">
          <p15:clr>
            <a:srgbClr val="547EBF"/>
          </p15:clr>
        </p15:guide>
        <p15:guide id="2" pos="4158">
          <p15:clr>
            <a:srgbClr val="547EBF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ing |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1199456" y="1483940"/>
            <a:ext cx="5112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6" y="332656"/>
            <a:ext cx="5112000" cy="720000"/>
          </a:xfrm>
        </p:spPr>
        <p:txBody>
          <a:bodyPr tIns="28800"/>
          <a:lstStyle>
            <a:lvl1pPr>
              <a:defRPr/>
            </a:lvl1pPr>
          </a:lstStyle>
          <a:p>
            <a:r>
              <a:rPr lang="en-GB"/>
              <a:t>Click to edit title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09E298D1-1B8A-48BA-B429-C8DD2EAF64A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600825" y="0"/>
            <a:ext cx="5591175" cy="6858000"/>
          </a:xfrm>
          <a:solidFill>
            <a:srgbClr val="DDE3E7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1pPr>
          </a:lstStyle>
          <a:p>
            <a:r>
              <a:rPr lang="en-GB"/>
              <a:t>Click icon </a:t>
            </a:r>
            <a:br>
              <a:rPr lang="en-GB"/>
            </a:br>
            <a:r>
              <a:rPr lang="en-GB"/>
              <a:t>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15227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6">
          <p15:clr>
            <a:srgbClr val="547EBF"/>
          </p15:clr>
        </p15:guide>
        <p15:guide id="3" pos="4158">
          <p15:clr>
            <a:srgbClr val="547EBF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1199455" y="3716610"/>
            <a:ext cx="10512000" cy="266514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4"/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6" y="2348880"/>
            <a:ext cx="10512000" cy="1224136"/>
          </a:xfrm>
        </p:spPr>
        <p:txBody>
          <a:bodyPr bIns="28800" anchor="b"/>
          <a:lstStyle>
            <a:lvl1pPr>
              <a:lnSpc>
                <a:spcPct val="90000"/>
              </a:lnSpc>
              <a:defRPr sz="3200" spc="-50" baseline="0">
                <a:latin typeface="+mj-lt"/>
              </a:defRPr>
            </a:lvl1pPr>
          </a:lstStyle>
          <a:p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230846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547EBF"/>
          </p15:clr>
        </p15:guide>
        <p15:guide id="2" orient="horz" pos="2341">
          <p15:clr>
            <a:srgbClr val="547EBF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|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1199456" y="3716610"/>
            <a:ext cx="5112000" cy="266514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0"/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8" y="2348880"/>
            <a:ext cx="5112000" cy="1223714"/>
          </a:xfrm>
        </p:spPr>
        <p:txBody>
          <a:bodyPr bIns="28800" anchor="b"/>
          <a:lstStyle>
            <a:lvl1pPr>
              <a:lnSpc>
                <a:spcPct val="90000"/>
              </a:lnSpc>
              <a:defRPr sz="3200" spc="-50" baseline="0">
                <a:latin typeface="+mj-lt"/>
              </a:defRPr>
            </a:lvl1pPr>
          </a:lstStyle>
          <a:p>
            <a:r>
              <a:rPr lang="en-GB"/>
              <a:t>Click to edit title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461ED10A-0495-4A89-BA52-79C00234B56E}"/>
              </a:ext>
            </a:extLst>
          </p:cNvPr>
          <p:cNvSpPr>
            <a:spLocks noGrp="1"/>
          </p:cNvSpPr>
          <p:nvPr>
            <p:ph idx="16" hasCustomPrompt="1"/>
          </p:nvPr>
        </p:nvSpPr>
        <p:spPr bwMode="gray">
          <a:xfrm>
            <a:off x="6600825" y="0"/>
            <a:ext cx="5591175" cy="6858000"/>
          </a:xfrm>
          <a:noFill/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005584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547EBF"/>
          </p15:clr>
        </p15:guide>
        <p15:guide id="2" pos="3976">
          <p15:clr>
            <a:srgbClr val="547EBF"/>
          </p15:clr>
        </p15:guide>
        <p15:guide id="3" pos="4158">
          <p15:clr>
            <a:srgbClr val="547EBF"/>
          </p15:clr>
        </p15:guide>
        <p15:guide id="4" orient="horz" pos="2337">
          <p15:clr>
            <a:srgbClr val="547EBF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|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>
            <a:extLst>
              <a:ext uri="{FF2B5EF4-FFF2-40B4-BE49-F238E27FC236}">
                <a16:creationId xmlns:a16="http://schemas.microsoft.com/office/drawing/2014/main" id="{2E310726-F0F9-435D-B724-F278EC72901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199456" y="0"/>
            <a:ext cx="4536504" cy="6858000"/>
          </a:xfrm>
          <a:solidFill>
            <a:srgbClr val="DDE3E7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1pPr>
          </a:lstStyle>
          <a:p>
            <a:r>
              <a:rPr lang="en-GB"/>
              <a:t>Click icon </a:t>
            </a:r>
            <a:br>
              <a:rPr lang="en-GB"/>
            </a:br>
            <a:r>
              <a:rPr lang="en-GB"/>
              <a:t>to add pictur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6600056" y="3716610"/>
            <a:ext cx="5112000" cy="266514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6600057" y="2348880"/>
            <a:ext cx="5112000" cy="1223714"/>
          </a:xfrm>
        </p:spPr>
        <p:txBody>
          <a:bodyPr bIns="28800" anchor="b"/>
          <a:lstStyle>
            <a:lvl1pPr>
              <a:lnSpc>
                <a:spcPct val="90000"/>
              </a:lnSpc>
              <a:defRPr sz="3200" spc="-50" baseline="0">
                <a:latin typeface="+mj-lt"/>
              </a:defRPr>
            </a:lvl1pPr>
          </a:lstStyle>
          <a:p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019595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547EBF"/>
          </p15:clr>
        </p15:guide>
        <p15:guide id="2" pos="4158">
          <p15:clr>
            <a:srgbClr val="547EBF"/>
          </p15:clr>
        </p15:guide>
        <p15:guide id="3" pos="3613">
          <p15:clr>
            <a:srgbClr val="547EBF"/>
          </p15:clr>
        </p15:guide>
        <p15:guide id="4" orient="horz" pos="234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34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tags" Target="../tags/tag11.xml"/><Relationship Id="rId2" Type="http://schemas.openxmlformats.org/officeDocument/2006/relationships/slideLayout" Target="../slideLayouts/slideLayout51.xml"/><Relationship Id="rId16" Type="http://schemas.openxmlformats.org/officeDocument/2006/relationships/theme" Target="../theme/theme5.xml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9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slideLayout" Target="../slideLayouts/slideLayout101.xml"/><Relationship Id="rId18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91.xml"/><Relationship Id="rId21" Type="http://schemas.openxmlformats.org/officeDocument/2006/relationships/theme" Target="../theme/theme8.x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17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90.xml"/><Relationship Id="rId16" Type="http://schemas.openxmlformats.org/officeDocument/2006/relationships/slideLayout" Target="../slideLayouts/slideLayout104.xml"/><Relationship Id="rId20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5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98.xml"/><Relationship Id="rId19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102.xml"/><Relationship Id="rId22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7051" y="269881"/>
            <a:ext cx="10464800" cy="1098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err="1"/>
              <a:t>Titelmasterformat</a:t>
            </a:r>
            <a:r>
              <a:rPr lang="en-GB"/>
              <a:t> </a:t>
            </a:r>
            <a:r>
              <a:rPr lang="en-GB" err="1"/>
              <a:t>durch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21318" y="1771652"/>
            <a:ext cx="9770533" cy="4354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err="1"/>
              <a:t>Textmasterformate</a:t>
            </a:r>
            <a:r>
              <a:rPr lang="en-GB"/>
              <a:t> </a:t>
            </a:r>
            <a:r>
              <a:rPr lang="en-GB" err="1"/>
              <a:t>durch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11445885" y="1698106"/>
            <a:ext cx="628651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>
              <a:defRPr sz="700">
                <a:solidFill>
                  <a:srgbClr val="001155"/>
                </a:solidFill>
                <a:latin typeface="TheSans Swisscom" pitchFamily="34" charset="0"/>
                <a:ea typeface="+mn-ea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F4A296A-FCD9-4E8B-87D7-D427D99016DA}" type="datetime1">
              <a:rPr lang="de-CH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4.07.2023</a:t>
            </a:fld>
            <a:endParaRPr lang="en-GB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67604" y="1196978"/>
            <a:ext cx="385233" cy="196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rgbClr val="001155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9D7A184-6BD2-45A8-951B-C16D34E4ECA7}" type="slidenum">
              <a:rPr lang="en-GB" altLang="de-DE"/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altLang="de-DE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1221318" y="1390651"/>
            <a:ext cx="97705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11567604" y="13985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1037" name="Line 13"/>
          <p:cNvSpPr>
            <a:spLocks noChangeShapeType="1"/>
          </p:cNvSpPr>
          <p:nvPr/>
        </p:nvSpPr>
        <p:spPr bwMode="auto">
          <a:xfrm>
            <a:off x="11567604" y="5481639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10284629" y="3632475"/>
            <a:ext cx="2951163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rgbClr val="001155"/>
                </a:solidFill>
                <a:latin typeface="TheSans Swisscom" pitchFamily="34" charset="0"/>
                <a:ea typeface="+mn-ea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Swisscom Cloud </a:t>
            </a:r>
          </a:p>
        </p:txBody>
      </p:sp>
      <p:pic>
        <p:nvPicPr>
          <p:cNvPr id="1034" name="Picture 17" descr="Swisscom_Stacked_Primary_RGB_PP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23"/>
            <a:ext cx="1056216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2755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2" r:id="rId11"/>
    <p:sldLayoutId id="2147483673" r:id="rId12"/>
    <p:sldLayoutId id="2147483674" r:id="rId13"/>
  </p:sldLayoutIdLst>
  <p:transition spd="med">
    <p:fade/>
  </p:transition>
  <p:hf hdr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+mj-lt"/>
          <a:ea typeface="ＭＳ Ｐゴシック" pitchFamily="34" charset="-128"/>
          <a:cs typeface="ＭＳ Ｐゴシック" charset="0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ＭＳ Ｐゴシック" pitchFamily="34" charset="-128"/>
          <a:cs typeface="ＭＳ Ｐゴシック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ＭＳ Ｐゴシック" pitchFamily="34" charset="-128"/>
          <a:cs typeface="ＭＳ Ｐゴシック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ＭＳ Ｐゴシック" pitchFamily="34" charset="-128"/>
          <a:cs typeface="ＭＳ Ｐゴシック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ＭＳ Ｐゴシック" pitchFamily="34" charset="-128"/>
          <a:cs typeface="ＭＳ Ｐゴシック" charset="0"/>
        </a:defRPr>
      </a:lvl5pPr>
      <a:lvl6pPr marL="9747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6pPr>
      <a:lvl7pPr marL="14319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7pPr>
      <a:lvl8pPr marL="18891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8pPr>
      <a:lvl9pPr marL="23463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ＭＳ Ｐゴシック" pitchFamily="34" charset="-128"/>
          <a:cs typeface="ＭＳ Ｐゴシック" charset="0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  <a:ea typeface="ＭＳ Ｐゴシック" pitchFamily="34" charset="-128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  <a:ea typeface="ＭＳ Ｐゴシック" pitchFamily="34" charset="-128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  <a:ea typeface="ＭＳ Ｐゴシック" pitchFamily="34" charset="-128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  <a:ea typeface="ＭＳ Ｐゴシック" pitchFamily="34" charset="-128"/>
        </a:defRPr>
      </a:lvl5pPr>
      <a:lvl6pPr marL="20796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6pPr>
      <a:lvl7pPr marL="25368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7pPr>
      <a:lvl8pPr marL="29940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8pPr>
      <a:lvl9pPr marL="34512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4"/>
            <a:ext cx="762000" cy="422875"/>
          </a:xfrm>
          <a:prstGeom prst="rect">
            <a:avLst/>
          </a:prstGeom>
        </p:spPr>
      </p:pic>
      <p:sp>
        <p:nvSpPr>
          <p:cNvPr id="8" name="Line 8"/>
          <p:cNvSpPr>
            <a:spLocks noChangeShapeType="1"/>
          </p:cNvSpPr>
          <p:nvPr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9" name="Line 13"/>
          <p:cNvSpPr>
            <a:spLocks noChangeShapeType="1"/>
          </p:cNvSpPr>
          <p:nvPr/>
        </p:nvSpPr>
        <p:spPr bwMode="gray">
          <a:xfrm>
            <a:off x="11567604" y="60212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 rot="16200000">
            <a:off x="11437125" y="1891522"/>
            <a:ext cx="648124" cy="38295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1155"/>
                </a:solidFill>
              </a:rPr>
              <a:t>dd/mm/yyyy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 rot="16200000">
            <a:off x="10105003" y="3957615"/>
            <a:ext cx="3312371" cy="382948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1155"/>
                </a:solidFill>
              </a:rPr>
              <a:t>Classification, First name &amp; surname, Organization, Filename_Version</a:t>
            </a:r>
            <a:endParaRPr lang="en-GB">
              <a:solidFill>
                <a:srgbClr val="001155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569700" y="1124744"/>
            <a:ext cx="382949" cy="2879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F1E6F8D2-302A-414E-8EB0-9FF1A628B391}" type="slidenum">
              <a:rPr lang="en-GB" smtClean="0">
                <a:solidFill>
                  <a:srgbClr val="001155"/>
                </a:solidFill>
              </a:rPr>
              <a:pPr/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15" name="Line 8"/>
          <p:cNvSpPr>
            <a:spLocks noChangeShapeType="1"/>
          </p:cNvSpPr>
          <p:nvPr/>
        </p:nvSpPr>
        <p:spPr bwMode="gray">
          <a:xfrm flipV="1">
            <a:off x="11569718" y="1412776"/>
            <a:ext cx="38295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800">
              <a:solidFill>
                <a:srgbClr val="001155"/>
              </a:solidFill>
            </a:endParaRPr>
          </a:p>
        </p:txBody>
      </p:sp>
      <p:sp>
        <p:nvSpPr>
          <p:cNvPr id="16" name="Titelplatzhalter 15"/>
          <p:cNvSpPr>
            <a:spLocks noGrp="1"/>
          </p:cNvSpPr>
          <p:nvPr>
            <p:ph type="title"/>
          </p:nvPr>
        </p:nvSpPr>
        <p:spPr bwMode="gray">
          <a:xfrm>
            <a:off x="527051" y="260352"/>
            <a:ext cx="10464800" cy="1152369"/>
          </a:xfrm>
          <a:prstGeom prst="rect">
            <a:avLst/>
          </a:prstGeom>
        </p:spPr>
        <p:txBody>
          <a:bodyPr vert="horz" lIns="0" tIns="0" rIns="0" bIns="10800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17" name="Textplatzhalter 16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 bwMode="gray">
          <a:xfrm>
            <a:off x="1200153" y="1773237"/>
            <a:ext cx="9791700" cy="42480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VCT_Marker_ID_2" hidden="1"/>
          <p:cNvSpPr/>
          <p:nvPr>
            <p:custDataLst>
              <p:tags r:id="rId19"/>
            </p:custDataLst>
          </p:nvPr>
        </p:nvSpPr>
        <p:spPr bwMode="gray">
          <a:xfrm>
            <a:off x="1693334" y="127000"/>
            <a:ext cx="169333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err="1">
              <a:solidFill>
                <a:srgbClr val="0011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121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</p:sldLayoutIdLst>
  <p:hf hdr="0"/>
  <p:txStyles>
    <p:titleStyle>
      <a:lvl1pPr marL="490538" indent="-490538" algn="l" defTabSz="914400" rtl="0" eaLnBrk="1" latinLnBrk="0" hangingPunct="1">
        <a:spcBef>
          <a:spcPct val="0"/>
        </a:spcBef>
        <a:buNone/>
        <a:defRPr lang="en-GB" sz="280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spcBef>
          <a:spcPct val="20000"/>
        </a:spcBef>
        <a:buClr>
          <a:schemeClr val="accent2"/>
        </a:buClr>
        <a:buFont typeface="TheSans Swisscom" pitchFamily="34" charset="0"/>
        <a:buChar char="&gt;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82563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184150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55713" indent="-184150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612900" indent="-174625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en-GB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970088" indent="-174625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335213" indent="-182563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693988" indent="-184150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051175" indent="-182563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7051" y="269875"/>
            <a:ext cx="10464800" cy="109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err="1"/>
              <a:t>Titelmasterformat</a:t>
            </a:r>
            <a:r>
              <a:rPr lang="en-GB"/>
              <a:t> </a:t>
            </a:r>
            <a:r>
              <a:rPr lang="en-GB" err="1"/>
              <a:t>durch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21318" y="1771651"/>
            <a:ext cx="9770533" cy="4354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err="1"/>
              <a:t>Textmasterformate</a:t>
            </a:r>
            <a:r>
              <a:rPr lang="en-GB"/>
              <a:t> </a:t>
            </a:r>
            <a:r>
              <a:rPr lang="en-GB" err="1"/>
              <a:t>durch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11445876" y="1698097"/>
            <a:ext cx="628650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>
              <a:defRPr sz="700">
                <a:solidFill>
                  <a:srgbClr val="001155"/>
                </a:solidFill>
                <a:latin typeface="TheSans Swisscom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C02E13C-6DE1-4F5D-9131-28932DF591E1}" type="datetime1">
              <a:rPr lang="de-CH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4.07.2023</a:t>
            </a:fld>
            <a:endParaRPr lang="en-GB">
              <a:cs typeface="ＭＳ Ｐゴシック" charset="0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67585" y="1196975"/>
            <a:ext cx="385233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rgbClr val="001155"/>
                </a:solidFill>
                <a:latin typeface="TheSans Swisscom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9689800-A86A-408E-BB16-5354228EDBBF}" type="slidenum">
              <a:rPr lang="en-GB" smtClean="0">
                <a:cs typeface="ＭＳ Ｐゴシック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>
              <a:cs typeface="ＭＳ Ｐゴシック" charset="0"/>
            </a:endParaRPr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1221318" y="1390650"/>
            <a:ext cx="97705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11567585" y="13985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1037" name="Line 13"/>
          <p:cNvSpPr>
            <a:spLocks noChangeShapeType="1"/>
          </p:cNvSpPr>
          <p:nvPr/>
        </p:nvSpPr>
        <p:spPr bwMode="auto">
          <a:xfrm>
            <a:off x="11567585" y="548163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  <a:defRPr/>
            </a:pPr>
            <a:endParaRPr lang="en-GB" sz="1800">
              <a:solidFill>
                <a:srgbClr val="001155"/>
              </a:solidFill>
              <a:cs typeface="ＭＳ Ｐゴシック" charset="0"/>
            </a:endParaRP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10284620" y="3632466"/>
            <a:ext cx="2951163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rgbClr val="001155"/>
                </a:solidFill>
                <a:latin typeface="TheSans Swisscom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cs typeface="ＭＳ Ｐゴシック" charset="0"/>
              </a:rPr>
              <a:t>Swisscom Cloud </a:t>
            </a:r>
            <a:endParaRPr lang="en-GB">
              <a:cs typeface="ＭＳ Ｐゴシック" charset="0"/>
            </a:endParaRPr>
          </a:p>
        </p:txBody>
      </p:sp>
      <p:pic>
        <p:nvPicPr>
          <p:cNvPr id="1034" name="Picture 17" descr="Swisscom_Stacked_Primary_RGB_PPT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7977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+mj-lt"/>
          <a:ea typeface="MS PGothic" pitchFamily="34" charset="-128"/>
          <a:cs typeface="ＭＳ Ｐゴシック" charset="0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MS PGothic" pitchFamily="34" charset="-128"/>
          <a:cs typeface="ＭＳ Ｐゴシック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MS PGothic" pitchFamily="34" charset="-128"/>
          <a:cs typeface="ＭＳ Ｐゴシック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MS PGothic" pitchFamily="34" charset="-128"/>
          <a:cs typeface="ＭＳ Ｐゴシック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MS PGothic" pitchFamily="34" charset="-128"/>
          <a:cs typeface="ＭＳ Ｐゴシック" charset="0"/>
        </a:defRPr>
      </a:lvl5pPr>
      <a:lvl6pPr marL="9747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6pPr>
      <a:lvl7pPr marL="14319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7pPr>
      <a:lvl8pPr marL="18891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8pPr>
      <a:lvl9pPr marL="23463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0796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6pPr>
      <a:lvl7pPr marL="25368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7pPr>
      <a:lvl8pPr marL="29940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8pPr>
      <a:lvl9pPr marL="34512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7051" y="269875"/>
            <a:ext cx="10464800" cy="109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itelmasterformat durch Klicken bearbeiten</a:t>
            </a:r>
            <a:endParaRPr lang="en-GB" altLang="de-DE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21318" y="1771651"/>
            <a:ext cx="9770533" cy="4354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  <a:endParaRPr lang="en-GB" altLang="de-DE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11445876" y="1698097"/>
            <a:ext cx="628650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ClrTx/>
              <a:defRPr sz="700" smtClean="0"/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de-CH" altLang="de-DE">
                <a:solidFill>
                  <a:srgbClr val="001155"/>
                </a:solidFill>
              </a:rPr>
              <a:t>dd/mm/yyyy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67585" y="1196975"/>
            <a:ext cx="385233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defRPr sz="700"/>
            </a:lvl1pPr>
          </a:lstStyle>
          <a:p>
            <a:pPr fontAlgn="base">
              <a:spcAft>
                <a:spcPct val="0"/>
              </a:spcAft>
            </a:pPr>
            <a:fld id="{12396580-EA28-4202-85A5-787E8FA8C0FB}" type="slidenum">
              <a:rPr lang="en-GB" altLang="de-DE">
                <a:solidFill>
                  <a:srgbClr val="001155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2" name="Line 8"/>
          <p:cNvSpPr>
            <a:spLocks noChangeShapeType="1"/>
          </p:cNvSpPr>
          <p:nvPr/>
        </p:nvSpPr>
        <p:spPr bwMode="auto">
          <a:xfrm>
            <a:off x="1221318" y="1390650"/>
            <a:ext cx="97705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1031" name="Line 9"/>
          <p:cNvSpPr>
            <a:spLocks noChangeShapeType="1"/>
          </p:cNvSpPr>
          <p:nvPr/>
        </p:nvSpPr>
        <p:spPr bwMode="auto">
          <a:xfrm>
            <a:off x="11567585" y="13985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1032" name="Line 13"/>
          <p:cNvSpPr>
            <a:spLocks noChangeShapeType="1"/>
          </p:cNvSpPr>
          <p:nvPr/>
        </p:nvSpPr>
        <p:spPr bwMode="auto">
          <a:xfrm>
            <a:off x="11567585" y="548163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10284620" y="3632466"/>
            <a:ext cx="2951163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defRPr sz="700" smtClean="0"/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GB" altLang="de-DE">
                <a:solidFill>
                  <a:srgbClr val="001155"/>
                </a:solidFill>
              </a:rPr>
              <a:t>Classification, First name &amp; surname, Organization, Filename_Version</a:t>
            </a:r>
          </a:p>
        </p:txBody>
      </p:sp>
      <p:pic>
        <p:nvPicPr>
          <p:cNvPr id="1034" name="Picture 17" descr="Swisscom_Stacked_Primary_RGB_PP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5705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</p:sldLayoutIdLst>
  <p:hf hdr="0"/>
  <p:txStyles>
    <p:titleStyle>
      <a:lvl1pPr marL="5175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marL="5175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2pPr>
      <a:lvl3pPr marL="5175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3pPr>
      <a:lvl4pPr marL="5175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4pPr>
      <a:lvl5pPr marL="5175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5pPr>
      <a:lvl6pPr marL="9747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6pPr>
      <a:lvl7pPr marL="14319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7pPr>
      <a:lvl8pPr marL="18891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8pPr>
      <a:lvl9pPr marL="23463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9pPr>
    </p:titleStyle>
    <p:bodyStyle>
      <a:lvl1pPr marL="180975" indent="-180975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9750" indent="-182563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2pPr>
      <a:lvl3pPr marL="903288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3pPr>
      <a:lvl4pPr marL="1262063" indent="-1778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4pPr>
      <a:lvl5pPr marL="16224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5pPr>
      <a:lvl6pPr marL="20796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6pPr>
      <a:lvl7pPr marL="25368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7pPr>
      <a:lvl8pPr marL="29940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8pPr>
      <a:lvl9pPr marL="34512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207751" y="6237313"/>
            <a:ext cx="762000" cy="422875"/>
          </a:xfrm>
          <a:prstGeom prst="rect">
            <a:avLst/>
          </a:prstGeom>
        </p:spPr>
      </p:pic>
      <p:sp>
        <p:nvSpPr>
          <p:cNvPr id="8" name="Line 8"/>
          <p:cNvSpPr>
            <a:spLocks noChangeShapeType="1"/>
          </p:cNvSpPr>
          <p:nvPr userDrawn="1"/>
        </p:nvSpPr>
        <p:spPr bwMode="gray">
          <a:xfrm flipV="1">
            <a:off x="1198491" y="1412720"/>
            <a:ext cx="979336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9" name="Line 13"/>
          <p:cNvSpPr>
            <a:spLocks noChangeShapeType="1"/>
          </p:cNvSpPr>
          <p:nvPr userDrawn="1"/>
        </p:nvSpPr>
        <p:spPr bwMode="gray">
          <a:xfrm>
            <a:off x="11567585" y="60212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 rot="16200000">
            <a:off x="11437115" y="1891512"/>
            <a:ext cx="648124" cy="38295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001155"/>
                </a:solidFill>
              </a:rPr>
              <a:t>02.05.2016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 rot="16200000">
            <a:off x="10104994" y="3957605"/>
            <a:ext cx="3312370" cy="382948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de-CH">
                <a:solidFill>
                  <a:srgbClr val="001155"/>
                </a:solidFill>
              </a:rPr>
              <a:t>DCS Produkt in S-Stack und SAM-Stack</a:t>
            </a:r>
            <a:endParaRPr lang="de-DE">
              <a:solidFill>
                <a:srgbClr val="001155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569700" y="1124744"/>
            <a:ext cx="382949" cy="2879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F1E6F8D2-302A-414E-8EB0-9FF1A628B391}" type="slidenum">
              <a:rPr lang="de-DE" smtClean="0">
                <a:solidFill>
                  <a:srgbClr val="001155"/>
                </a:solidFill>
              </a:rPr>
              <a:pPr/>
              <a:t>‹#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15" name="Line 8"/>
          <p:cNvSpPr>
            <a:spLocks noChangeShapeType="1"/>
          </p:cNvSpPr>
          <p:nvPr userDrawn="1"/>
        </p:nvSpPr>
        <p:spPr bwMode="gray">
          <a:xfrm flipV="1">
            <a:off x="11569699" y="1412776"/>
            <a:ext cx="38295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>
              <a:solidFill>
                <a:srgbClr val="001155"/>
              </a:solidFill>
            </a:endParaRPr>
          </a:p>
        </p:txBody>
      </p:sp>
      <p:sp>
        <p:nvSpPr>
          <p:cNvPr id="16" name="Titelplatzhalter 15"/>
          <p:cNvSpPr>
            <a:spLocks noGrp="1"/>
          </p:cNvSpPr>
          <p:nvPr>
            <p:ph type="title"/>
          </p:nvPr>
        </p:nvSpPr>
        <p:spPr bwMode="gray">
          <a:xfrm>
            <a:off x="527051" y="260352"/>
            <a:ext cx="10464800" cy="1152369"/>
          </a:xfrm>
          <a:prstGeom prst="rect">
            <a:avLst/>
          </a:prstGeom>
        </p:spPr>
        <p:txBody>
          <a:bodyPr vert="horz" lIns="0" tIns="0" rIns="0" bIns="10800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 bwMode="gray">
          <a:xfrm>
            <a:off x="1200150" y="1773238"/>
            <a:ext cx="9791700" cy="4248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VCT_Marker_ID_2" hidden="1"/>
          <p:cNvSpPr/>
          <p:nvPr userDrawn="1">
            <p:custDataLst>
              <p:tags r:id="rId18"/>
            </p:custDataLst>
          </p:nvPr>
        </p:nvSpPr>
        <p:spPr bwMode="gray">
          <a:xfrm>
            <a:off x="1693334" y="127000"/>
            <a:ext cx="169333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err="1">
              <a:solidFill>
                <a:srgbClr val="001155"/>
              </a:solidFill>
            </a:endParaRPr>
          </a:p>
        </p:txBody>
      </p:sp>
      <p:sp>
        <p:nvSpPr>
          <p:cNvPr id="12" name="VctRoadmap_ID_12" hidden="1"/>
          <p:cNvSpPr txBox="1"/>
          <p:nvPr userDrawn="1">
            <p:custDataLst>
              <p:tags r:id="rId19"/>
            </p:custDataLst>
          </p:nvPr>
        </p:nvSpPr>
        <p:spPr bwMode="gray">
          <a:xfrm>
            <a:off x="5759449" y="88900"/>
            <a:ext cx="5232400" cy="184666"/>
          </a:xfrm>
          <a:prstGeom prst="rect">
            <a:avLst/>
          </a:prstGeom>
          <a:noFill/>
          <a:ln cmpd="sng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r"/>
            <a:r>
              <a:rPr lang="de-DE" sz="1200" b="1" i="1">
                <a:solidFill>
                  <a:srgbClr val="000000"/>
                </a:solidFill>
                <a:latin typeface="Arial"/>
              </a:rPr>
              <a:t>_Auto</a:t>
            </a:r>
          </a:p>
        </p:txBody>
      </p:sp>
    </p:spTree>
    <p:extLst>
      <p:ext uri="{BB962C8B-B14F-4D97-AF65-F5344CB8AC3E}">
        <p14:creationId xmlns:p14="http://schemas.microsoft.com/office/powerpoint/2010/main" val="1620002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</p:sldLayoutIdLst>
  <p:transition/>
  <p:hf hdr="0"/>
  <p:txStyles>
    <p:titleStyle>
      <a:lvl1pPr marL="490538" indent="-490538" algn="l" defTabSz="914400" rtl="0" eaLnBrk="1" latinLnBrk="0" hangingPunct="1">
        <a:spcBef>
          <a:spcPct val="0"/>
        </a:spcBef>
        <a:buNone/>
        <a:defRPr lang="en-GB" sz="280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spcBef>
          <a:spcPct val="20000"/>
        </a:spcBef>
        <a:buClr>
          <a:schemeClr val="accent2"/>
        </a:buClr>
        <a:buFont typeface="TheSans Swisscom" pitchFamily="34" charset="0"/>
        <a:buChar char="&gt;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82563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184150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55713" indent="-184150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612900" indent="-174625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lang="en-GB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970088" indent="-174625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335213" indent="-182563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693988" indent="-184150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051175" indent="-182563" algn="l" defTabSz="914400" rtl="0" eaLnBrk="1" latinLnBrk="0" hangingPunct="1">
        <a:spcBef>
          <a:spcPct val="20000"/>
        </a:spcBef>
        <a:buFont typeface="TheSans Swisscom Light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7051" y="269875"/>
            <a:ext cx="10464800" cy="109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21318" y="1771651"/>
            <a:ext cx="9770533" cy="4354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masterformate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11445876" y="1698097"/>
            <a:ext cx="628650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defRPr sz="700"/>
            </a:lvl1pPr>
          </a:lstStyle>
          <a:p>
            <a:pPr algn="ctr" fontAlgn="base">
              <a:spcAft>
                <a:spcPct val="0"/>
              </a:spcAft>
              <a:defRPr/>
            </a:pPr>
            <a:fld id="{C409AF09-4223-4D74-B22D-630B9EFC8995}" type="datetime1">
              <a:rPr lang="de-DE" smtClean="0">
                <a:solidFill>
                  <a:srgbClr val="001155"/>
                </a:solidFill>
              </a:rPr>
              <a:pPr algn="ctr" fontAlgn="base">
                <a:spcAft>
                  <a:spcPct val="0"/>
                </a:spcAft>
                <a:defRPr/>
              </a:pPr>
              <a:t>24.07.2023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67585" y="1196975"/>
            <a:ext cx="385233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defRPr sz="700"/>
            </a:lvl1pPr>
          </a:lstStyle>
          <a:p>
            <a:pPr fontAlgn="base">
              <a:spcAft>
                <a:spcPct val="0"/>
              </a:spcAft>
              <a:defRPr/>
            </a:pPr>
            <a:fld id="{66CCBED9-E6FE-4EA0-9069-28C2A5EF93F0}" type="slidenum">
              <a:rPr lang="en-GB">
                <a:solidFill>
                  <a:srgbClr val="001155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GB">
              <a:solidFill>
                <a:srgbClr val="001155"/>
              </a:solidFill>
            </a:endParaRPr>
          </a:p>
        </p:txBody>
      </p:sp>
      <p:sp>
        <p:nvSpPr>
          <p:cNvPr id="2" name="Line 8"/>
          <p:cNvSpPr>
            <a:spLocks noChangeShapeType="1"/>
          </p:cNvSpPr>
          <p:nvPr/>
        </p:nvSpPr>
        <p:spPr bwMode="auto">
          <a:xfrm>
            <a:off x="1221318" y="1390650"/>
            <a:ext cx="97705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400">
              <a:solidFill>
                <a:srgbClr val="001155"/>
              </a:solidFill>
            </a:endParaRPr>
          </a:p>
        </p:txBody>
      </p:sp>
      <p:sp>
        <p:nvSpPr>
          <p:cNvPr id="1031" name="Line 9"/>
          <p:cNvSpPr>
            <a:spLocks noChangeShapeType="1"/>
          </p:cNvSpPr>
          <p:nvPr/>
        </p:nvSpPr>
        <p:spPr bwMode="auto">
          <a:xfrm>
            <a:off x="11567585" y="13985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400">
              <a:solidFill>
                <a:srgbClr val="001155"/>
              </a:solidFill>
            </a:endParaRPr>
          </a:p>
        </p:txBody>
      </p:sp>
      <p:sp>
        <p:nvSpPr>
          <p:cNvPr id="1032" name="Line 13"/>
          <p:cNvSpPr>
            <a:spLocks noChangeShapeType="1"/>
          </p:cNvSpPr>
          <p:nvPr/>
        </p:nvSpPr>
        <p:spPr bwMode="auto">
          <a:xfrm>
            <a:off x="11567585" y="548163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11AAFF"/>
              </a:buClr>
            </a:pPr>
            <a:endParaRPr lang="de-CH" sz="1400">
              <a:solidFill>
                <a:srgbClr val="001155"/>
              </a:solidFill>
            </a:endParaRP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10284620" y="3632466"/>
            <a:ext cx="2951163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defRPr sz="700"/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de-CH">
                <a:solidFill>
                  <a:srgbClr val="001155"/>
                </a:solidFill>
              </a:rPr>
              <a:t>C3, Alain Bovet, INI-ON-PLS-SMT, Aufgaben_Übergabe_Version_0.2</a:t>
            </a:r>
            <a:endParaRPr lang="en-GB">
              <a:solidFill>
                <a:srgbClr val="001155"/>
              </a:solidFill>
            </a:endParaRPr>
          </a:p>
        </p:txBody>
      </p:sp>
      <p:pic>
        <p:nvPicPr>
          <p:cNvPr id="1034" name="Picture 17" descr="Swisscom_Stacked_Primary_RGB_PP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677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</p:sldLayoutIdLst>
  <p:hf hdr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5pPr>
      <a:lvl6pPr marL="9747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6pPr>
      <a:lvl7pPr marL="14319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7pPr>
      <a:lvl8pPr marL="18891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8pPr>
      <a:lvl9pPr marL="23463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5pPr>
      <a:lvl6pPr marL="20796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6pPr>
      <a:lvl7pPr marL="25368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7pPr>
      <a:lvl8pPr marL="29940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8pPr>
      <a:lvl9pPr marL="34512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7051" y="269875"/>
            <a:ext cx="10464800" cy="109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21318" y="1771651"/>
            <a:ext cx="9770533" cy="4354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err="1"/>
              <a:t>Textmasterformate</a:t>
            </a:r>
            <a:r>
              <a:rPr lang="en-GB" altLang="de-DE"/>
              <a:t> </a:t>
            </a:r>
            <a:r>
              <a:rPr lang="en-GB" altLang="de-DE" err="1"/>
              <a:t>durch</a:t>
            </a:r>
            <a:r>
              <a:rPr lang="en-GB" altLang="de-DE"/>
              <a:t> </a:t>
            </a:r>
            <a:r>
              <a:rPr lang="en-GB" altLang="de-DE" err="1"/>
              <a:t>Klicken</a:t>
            </a:r>
            <a:r>
              <a:rPr lang="en-GB" altLang="de-DE"/>
              <a:t> </a:t>
            </a:r>
            <a:r>
              <a:rPr lang="en-GB" altLang="de-DE" err="1"/>
              <a:t>bearbeiten</a:t>
            </a:r>
            <a:endParaRPr lang="en-GB" altLang="de-DE"/>
          </a:p>
          <a:p>
            <a:pPr lvl="1"/>
            <a:r>
              <a:rPr lang="en-GB" altLang="de-DE" err="1"/>
              <a:t>Zweite</a:t>
            </a:r>
            <a:r>
              <a:rPr lang="en-GB" altLang="de-DE"/>
              <a:t> </a:t>
            </a:r>
            <a:r>
              <a:rPr lang="en-GB" altLang="de-DE" err="1"/>
              <a:t>Ebene</a:t>
            </a:r>
            <a:endParaRPr lang="en-GB" altLang="de-DE"/>
          </a:p>
          <a:p>
            <a:pPr lvl="2"/>
            <a:r>
              <a:rPr lang="en-GB" altLang="de-DE" err="1"/>
              <a:t>Dritte</a:t>
            </a:r>
            <a:r>
              <a:rPr lang="en-GB" altLang="de-DE"/>
              <a:t> </a:t>
            </a:r>
            <a:r>
              <a:rPr lang="en-GB" altLang="de-DE" err="1"/>
              <a:t>Ebene</a:t>
            </a:r>
            <a:endParaRPr lang="en-GB" altLang="de-DE"/>
          </a:p>
          <a:p>
            <a:pPr lvl="3"/>
            <a:r>
              <a:rPr lang="en-GB" altLang="de-DE" err="1"/>
              <a:t>Vierte</a:t>
            </a:r>
            <a:r>
              <a:rPr lang="en-GB" altLang="de-DE"/>
              <a:t> </a:t>
            </a:r>
            <a:r>
              <a:rPr lang="en-GB" altLang="de-DE" err="1"/>
              <a:t>Ebene</a:t>
            </a:r>
            <a:endParaRPr lang="en-GB" altLang="de-DE"/>
          </a:p>
          <a:p>
            <a:pPr lvl="4"/>
            <a:r>
              <a:rPr lang="en-GB" altLang="de-DE" err="1"/>
              <a:t>Fünfte</a:t>
            </a:r>
            <a:r>
              <a:rPr lang="en-GB" altLang="de-DE"/>
              <a:t> </a:t>
            </a:r>
            <a:r>
              <a:rPr lang="en-GB" altLang="de-DE" err="1"/>
              <a:t>Ebene</a:t>
            </a:r>
            <a:endParaRPr lang="en-GB" altLang="de-DE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11445876" y="1698097"/>
            <a:ext cx="628650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spcBef>
                <a:spcPct val="0"/>
              </a:spcBef>
              <a:buClrTx/>
              <a:defRPr sz="700"/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de-CH" altLang="de-DE">
                <a:solidFill>
                  <a:srgbClr val="001155"/>
                </a:solidFill>
              </a:rPr>
              <a:t>14.04.2016</a:t>
            </a:r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67585" y="1196975"/>
            <a:ext cx="385233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7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AE1DE9B-B420-4A5D-8689-0D28680670E3}" type="slidenum">
              <a:rPr lang="en-GB" altLang="de-DE">
                <a:solidFill>
                  <a:srgbClr val="001155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altLang="de-DE">
              <a:solidFill>
                <a:srgbClr val="001155"/>
              </a:solidFill>
            </a:endParaRPr>
          </a:p>
        </p:txBody>
      </p:sp>
      <p:sp>
        <p:nvSpPr>
          <p:cNvPr id="2" name="Line 8"/>
          <p:cNvSpPr>
            <a:spLocks noChangeShapeType="1"/>
          </p:cNvSpPr>
          <p:nvPr/>
        </p:nvSpPr>
        <p:spPr bwMode="auto">
          <a:xfrm>
            <a:off x="1221318" y="1390650"/>
            <a:ext cx="97705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1031" name="Line 9"/>
          <p:cNvSpPr>
            <a:spLocks noChangeShapeType="1"/>
          </p:cNvSpPr>
          <p:nvPr/>
        </p:nvSpPr>
        <p:spPr bwMode="auto">
          <a:xfrm>
            <a:off x="11567585" y="139858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1032" name="Line 13"/>
          <p:cNvSpPr>
            <a:spLocks noChangeShapeType="1"/>
          </p:cNvSpPr>
          <p:nvPr/>
        </p:nvSpPr>
        <p:spPr bwMode="auto">
          <a:xfrm>
            <a:off x="11567585" y="5481638"/>
            <a:ext cx="3852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CH" sz="1800">
              <a:solidFill>
                <a:srgbClr val="001155"/>
              </a:solidFill>
            </a:endParaRP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10284620" y="3632466"/>
            <a:ext cx="2951163" cy="385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buClrTx/>
              <a:defRPr sz="700"/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GB" altLang="de-DE">
                <a:solidFill>
                  <a:srgbClr val="001155"/>
                </a:solidFill>
              </a:rPr>
              <a:t>Thor-DCS_HAL_V01-.pptx</a:t>
            </a:r>
          </a:p>
        </p:txBody>
      </p:sp>
      <p:pic>
        <p:nvPicPr>
          <p:cNvPr id="1034" name="Picture 17" descr="Swisscom_Stacked_Primary_RGB_PP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584" y="6081713"/>
            <a:ext cx="1056216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71468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</p:sldLayoutIdLst>
  <p:hf hdr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5pPr>
      <a:lvl6pPr marL="9747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6pPr>
      <a:lvl7pPr marL="14319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7pPr>
      <a:lvl8pPr marL="18891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8pPr>
      <a:lvl9pPr marL="23463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anose="020B0500040303060204" pitchFamily="34" charset="0"/>
        <a:buChar char="–"/>
        <a:defRPr>
          <a:solidFill>
            <a:schemeClr val="tx1"/>
          </a:solidFill>
          <a:latin typeface="+mn-lt"/>
        </a:defRPr>
      </a:lvl5pPr>
      <a:lvl6pPr marL="20796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6pPr>
      <a:lvl7pPr marL="25368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7pPr>
      <a:lvl8pPr marL="29940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8pPr>
      <a:lvl9pPr marL="34512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black">
          <a:xfrm>
            <a:off x="1200150" y="332656"/>
            <a:ext cx="10512000" cy="720000"/>
          </a:xfrm>
          <a:prstGeom prst="rect">
            <a:avLst/>
          </a:prstGeom>
        </p:spPr>
        <p:txBody>
          <a:bodyPr vert="horz" lIns="0" tIns="28800" rIns="0" bIns="0" rtlCol="0" anchor="t">
            <a:noAutofit/>
          </a:bodyPr>
          <a:lstStyle/>
          <a:p>
            <a:r>
              <a:rPr lang="en-GB"/>
              <a:t>Click to edit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black">
          <a:xfrm>
            <a:off x="1200150" y="1484015"/>
            <a:ext cx="10512000" cy="4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black">
          <a:xfrm rot="16200000">
            <a:off x="-1645271" y="3392999"/>
            <a:ext cx="4105278" cy="28790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 flipH="1">
            <a:off x="191344" y="6093336"/>
            <a:ext cx="432048" cy="360000"/>
          </a:xfrm>
          <a:prstGeom prst="rect">
            <a:avLst/>
          </a:prstGeom>
        </p:spPr>
        <p:txBody>
          <a:bodyPr vert="horz" lIns="0" tIns="0" rIns="0" bIns="14400" rtlCol="0" anchor="b">
            <a:noAutofit/>
          </a:bodyPr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F5EAD1F8-D385-4F7B-B8F3-539267025C3B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600" y="360000"/>
            <a:ext cx="342000" cy="462162"/>
          </a:xfrm>
          <a:prstGeom prst="rect">
            <a:avLst/>
          </a:prstGeom>
        </p:spPr>
      </p:pic>
      <p:grpSp>
        <p:nvGrpSpPr>
          <p:cNvPr id="22" name="Gruppieren 24">
            <a:extLst>
              <a:ext uri="{FF2B5EF4-FFF2-40B4-BE49-F238E27FC236}">
                <a16:creationId xmlns:a16="http://schemas.microsoft.com/office/drawing/2014/main" id="{312B57C8-CC79-40AA-8AA4-6CB66F54872B}"/>
              </a:ext>
            </a:extLst>
          </p:cNvPr>
          <p:cNvGrpSpPr/>
          <p:nvPr userDrawn="1"/>
        </p:nvGrpSpPr>
        <p:grpSpPr bwMode="gray">
          <a:xfrm>
            <a:off x="-168688" y="404664"/>
            <a:ext cx="72000" cy="5976664"/>
            <a:chOff x="-456728" y="404664"/>
            <a:chExt cx="216000" cy="5976664"/>
          </a:xfrm>
        </p:grpSpPr>
        <p:cxnSp>
          <p:nvCxnSpPr>
            <p:cNvPr id="26" name="Gerader Verbinder 22">
              <a:extLst>
                <a:ext uri="{FF2B5EF4-FFF2-40B4-BE49-F238E27FC236}">
                  <a16:creationId xmlns:a16="http://schemas.microsoft.com/office/drawing/2014/main" id="{CA530E4D-6A1D-440A-A92A-58B79E86CAA4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-456728" y="404664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3">
              <a:extLst>
                <a:ext uri="{FF2B5EF4-FFF2-40B4-BE49-F238E27FC236}">
                  <a16:creationId xmlns:a16="http://schemas.microsoft.com/office/drawing/2014/main" id="{41000BC1-4CED-4E84-B948-0C3FBB61C61C}"/>
                </a:ext>
              </a:extLst>
            </p:cNvPr>
            <p:cNvCxnSpPr/>
            <p:nvPr userDrawn="1"/>
          </p:nvCxnSpPr>
          <p:spPr bwMode="gray">
            <a:xfrm>
              <a:off x="-456728" y="6381328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2">
              <a:extLst>
                <a:ext uri="{FF2B5EF4-FFF2-40B4-BE49-F238E27FC236}">
                  <a16:creationId xmlns:a16="http://schemas.microsoft.com/office/drawing/2014/main" id="{A5C6A947-9107-449C-B734-B1EBC6B45977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-456728" y="1484784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uppieren 20">
            <a:extLst>
              <a:ext uri="{FF2B5EF4-FFF2-40B4-BE49-F238E27FC236}">
                <a16:creationId xmlns:a16="http://schemas.microsoft.com/office/drawing/2014/main" id="{C68B8BB5-A052-4302-8C36-A7347B54D093}"/>
              </a:ext>
            </a:extLst>
          </p:cNvPr>
          <p:cNvGrpSpPr/>
          <p:nvPr userDrawn="1"/>
        </p:nvGrpSpPr>
        <p:grpSpPr bwMode="black">
          <a:xfrm>
            <a:off x="1199456" y="-171400"/>
            <a:ext cx="10513168" cy="72000"/>
            <a:chOff x="1199456" y="-243408"/>
            <a:chExt cx="10513168" cy="216000"/>
          </a:xfrm>
        </p:grpSpPr>
        <p:cxnSp>
          <p:nvCxnSpPr>
            <p:cNvPr id="31" name="Gerader Verbinder 12">
              <a:extLst>
                <a:ext uri="{FF2B5EF4-FFF2-40B4-BE49-F238E27FC236}">
                  <a16:creationId xmlns:a16="http://schemas.microsoft.com/office/drawing/2014/main" id="{0BBDD4DC-2F5E-4921-A28A-16256894A83A}"/>
                </a:ext>
              </a:extLst>
            </p:cNvPr>
            <p:cNvCxnSpPr/>
            <p:nvPr userDrawn="1"/>
          </p:nvCxnSpPr>
          <p:spPr bwMode="black">
            <a:xfrm>
              <a:off x="1199456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13">
              <a:extLst>
                <a:ext uri="{FF2B5EF4-FFF2-40B4-BE49-F238E27FC236}">
                  <a16:creationId xmlns:a16="http://schemas.microsoft.com/office/drawing/2014/main" id="{387E5392-44DA-4D9C-9F10-E50075FC9154}"/>
                </a:ext>
              </a:extLst>
            </p:cNvPr>
            <p:cNvCxnSpPr/>
            <p:nvPr userDrawn="1"/>
          </p:nvCxnSpPr>
          <p:spPr bwMode="black">
            <a:xfrm>
              <a:off x="4511824" y="-243408"/>
              <a:ext cx="0" cy="216000"/>
            </a:xfrm>
            <a:prstGeom prst="line">
              <a:avLst/>
            </a:prstGeom>
            <a:ln w="63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14">
              <a:extLst>
                <a:ext uri="{FF2B5EF4-FFF2-40B4-BE49-F238E27FC236}">
                  <a16:creationId xmlns:a16="http://schemas.microsoft.com/office/drawing/2014/main" id="{038593D0-2B60-40E3-93F2-262F8CC888AA}"/>
                </a:ext>
              </a:extLst>
            </p:cNvPr>
            <p:cNvCxnSpPr/>
            <p:nvPr userDrawn="1"/>
          </p:nvCxnSpPr>
          <p:spPr bwMode="black">
            <a:xfrm>
              <a:off x="4799856" y="-243408"/>
              <a:ext cx="0" cy="216000"/>
            </a:xfrm>
            <a:prstGeom prst="line">
              <a:avLst/>
            </a:prstGeom>
            <a:ln w="63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15">
              <a:extLst>
                <a:ext uri="{FF2B5EF4-FFF2-40B4-BE49-F238E27FC236}">
                  <a16:creationId xmlns:a16="http://schemas.microsoft.com/office/drawing/2014/main" id="{8953402E-258F-4450-AB76-4174CBC5B640}"/>
                </a:ext>
              </a:extLst>
            </p:cNvPr>
            <p:cNvCxnSpPr/>
            <p:nvPr userDrawn="1"/>
          </p:nvCxnSpPr>
          <p:spPr bwMode="black">
            <a:xfrm>
              <a:off x="6312024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16">
              <a:extLst>
                <a:ext uri="{FF2B5EF4-FFF2-40B4-BE49-F238E27FC236}">
                  <a16:creationId xmlns:a16="http://schemas.microsoft.com/office/drawing/2014/main" id="{E0A7F052-1C09-4A7C-9370-039CD8902FFA}"/>
                </a:ext>
              </a:extLst>
            </p:cNvPr>
            <p:cNvCxnSpPr/>
            <p:nvPr userDrawn="1"/>
          </p:nvCxnSpPr>
          <p:spPr bwMode="black">
            <a:xfrm>
              <a:off x="6600056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17">
              <a:extLst>
                <a:ext uri="{FF2B5EF4-FFF2-40B4-BE49-F238E27FC236}">
                  <a16:creationId xmlns:a16="http://schemas.microsoft.com/office/drawing/2014/main" id="{CAC11A3C-8D30-4CD1-A9F1-01713888DC5B}"/>
                </a:ext>
              </a:extLst>
            </p:cNvPr>
            <p:cNvCxnSpPr/>
            <p:nvPr userDrawn="1"/>
          </p:nvCxnSpPr>
          <p:spPr bwMode="black">
            <a:xfrm>
              <a:off x="8112224" y="-243408"/>
              <a:ext cx="0" cy="216000"/>
            </a:xfrm>
            <a:prstGeom prst="line">
              <a:avLst/>
            </a:prstGeom>
            <a:ln w="63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18">
              <a:extLst>
                <a:ext uri="{FF2B5EF4-FFF2-40B4-BE49-F238E27FC236}">
                  <a16:creationId xmlns:a16="http://schemas.microsoft.com/office/drawing/2014/main" id="{1561F3C7-9D7D-4E3B-BD9E-A0E0CCC1BB4D}"/>
                </a:ext>
              </a:extLst>
            </p:cNvPr>
            <p:cNvCxnSpPr/>
            <p:nvPr userDrawn="1"/>
          </p:nvCxnSpPr>
          <p:spPr bwMode="black">
            <a:xfrm>
              <a:off x="8400256" y="-243408"/>
              <a:ext cx="0" cy="216000"/>
            </a:xfrm>
            <a:prstGeom prst="line">
              <a:avLst/>
            </a:prstGeom>
            <a:ln w="63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19">
              <a:extLst>
                <a:ext uri="{FF2B5EF4-FFF2-40B4-BE49-F238E27FC236}">
                  <a16:creationId xmlns:a16="http://schemas.microsoft.com/office/drawing/2014/main" id="{3DB0CF6B-3782-471C-855D-AC7156B1FC4C}"/>
                </a:ext>
              </a:extLst>
            </p:cNvPr>
            <p:cNvCxnSpPr/>
            <p:nvPr userDrawn="1"/>
          </p:nvCxnSpPr>
          <p:spPr bwMode="black">
            <a:xfrm>
              <a:off x="11712624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13">
              <a:extLst>
                <a:ext uri="{FF2B5EF4-FFF2-40B4-BE49-F238E27FC236}">
                  <a16:creationId xmlns:a16="http://schemas.microsoft.com/office/drawing/2014/main" id="{2E9AEC7D-A7E2-4653-9EA9-1D23D8079F01}"/>
                </a:ext>
              </a:extLst>
            </p:cNvPr>
            <p:cNvCxnSpPr/>
            <p:nvPr userDrawn="1"/>
          </p:nvCxnSpPr>
          <p:spPr bwMode="black">
            <a:xfrm>
              <a:off x="3611724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14">
              <a:extLst>
                <a:ext uri="{FF2B5EF4-FFF2-40B4-BE49-F238E27FC236}">
                  <a16:creationId xmlns:a16="http://schemas.microsoft.com/office/drawing/2014/main" id="{8E8724AC-A11A-4D85-9E2A-D4FF98B41AEB}"/>
                </a:ext>
              </a:extLst>
            </p:cNvPr>
            <p:cNvCxnSpPr/>
            <p:nvPr userDrawn="1"/>
          </p:nvCxnSpPr>
          <p:spPr bwMode="black">
            <a:xfrm>
              <a:off x="3899756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17">
              <a:extLst>
                <a:ext uri="{FF2B5EF4-FFF2-40B4-BE49-F238E27FC236}">
                  <a16:creationId xmlns:a16="http://schemas.microsoft.com/office/drawing/2014/main" id="{EA29EE29-0A4A-4211-91D5-77203B3EF25D}"/>
                </a:ext>
              </a:extLst>
            </p:cNvPr>
            <p:cNvCxnSpPr/>
            <p:nvPr userDrawn="1"/>
          </p:nvCxnSpPr>
          <p:spPr bwMode="black">
            <a:xfrm>
              <a:off x="9012324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18">
              <a:extLst>
                <a:ext uri="{FF2B5EF4-FFF2-40B4-BE49-F238E27FC236}">
                  <a16:creationId xmlns:a16="http://schemas.microsoft.com/office/drawing/2014/main" id="{64CF9FB5-CE38-42DD-A4E5-AD6CCCFD7CE3}"/>
                </a:ext>
              </a:extLst>
            </p:cNvPr>
            <p:cNvCxnSpPr/>
            <p:nvPr userDrawn="1"/>
          </p:nvCxnSpPr>
          <p:spPr bwMode="black">
            <a:xfrm>
              <a:off x="9300356" y="-243408"/>
              <a:ext cx="0" cy="216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99955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  <p:sldLayoutId id="2147483810" r:id="rId14"/>
    <p:sldLayoutId id="2147483811" r:id="rId15"/>
    <p:sldLayoutId id="2147483812" r:id="rId16"/>
    <p:sldLayoutId id="2147483813" r:id="rId17"/>
    <p:sldLayoutId id="2147483814" r:id="rId18"/>
    <p:sldLayoutId id="2147483815" r:id="rId19"/>
    <p:sldLayoutId id="2147483817" r:id="rId20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 spc="-5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TheSans Swisscom Light" panose="020B030004030306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TheSans Swisscom Light" panose="020B030004030306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TheSans Swisscom Light" panose="020B030004030306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TheSans Swisscom Light" panose="020B030004030306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TheSans Swisscom Light" panose="020B030004030306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TheSans Swisscom Light" panose="020B030004030306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Font typeface="TheSans Swisscom Light" panose="020B030004030306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6">
          <p15:clr>
            <a:srgbClr val="547EBF"/>
          </p15:clr>
        </p15:guide>
        <p15:guide id="5" pos="7378">
          <p15:clr>
            <a:srgbClr val="547EBF"/>
          </p15:clr>
        </p15:guide>
        <p15:guide id="11" orient="horz" pos="4020">
          <p15:clr>
            <a:srgbClr val="547EBF"/>
          </p15:clr>
        </p15:guide>
        <p15:guide id="14" orient="horz" pos="935">
          <p15:clr>
            <a:srgbClr val="547EBF"/>
          </p15:clr>
        </p15:guide>
        <p15:guide id="15" orient="horz" pos="255">
          <p15:clr>
            <a:srgbClr val="547E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9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9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3.xml"/><Relationship Id="rId1" Type="http://schemas.openxmlformats.org/officeDocument/2006/relationships/tags" Target="../tags/tag14.xml"/><Relationship Id="rId4" Type="http://schemas.openxmlformats.org/officeDocument/2006/relationships/chart" Target="../charts/char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8.xml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16" descr="A picture containing snow, dark, night&#10;&#10;Description automatically generated">
            <a:extLst>
              <a:ext uri="{FF2B5EF4-FFF2-40B4-BE49-F238E27FC236}">
                <a16:creationId xmlns:a16="http://schemas.microsoft.com/office/drawing/2014/main" id="{DA647578-0E97-4ED1-B135-13AFE103103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44" b="14844"/>
          <a:stretch>
            <a:fillRect/>
          </a:stretch>
        </p:blipFill>
        <p:spPr>
          <a:xfrm>
            <a:off x="1" y="0"/>
            <a:ext cx="12191999" cy="6858000"/>
          </a:xfr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6E9D3DD-B586-405D-BF7B-22E8E79EE8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99456" y="909270"/>
            <a:ext cx="8208000" cy="3239002"/>
          </a:xfrm>
        </p:spPr>
        <p:txBody>
          <a:bodyPr/>
          <a:lstStyle/>
          <a:p>
            <a:r>
              <a:rPr lang="en-US" sz="3600" dirty="0"/>
              <a:t>Swisscom Network Analytics</a:t>
            </a:r>
            <a:br>
              <a:rPr lang="en-US" sz="4800" dirty="0"/>
            </a:br>
            <a:r>
              <a:rPr lang="en-US" sz="4200" b="0" dirty="0"/>
              <a:t>Why Network Modelling with Digital Map is the next step</a:t>
            </a:r>
            <a:endParaRPr lang="de-CH" sz="4200" b="0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22ED2BF-7B71-4061-81BF-3C0686B7D4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9456" y="4292208"/>
            <a:ext cx="8208000" cy="720000"/>
          </a:xfrm>
        </p:spPr>
        <p:txBody>
          <a:bodyPr/>
          <a:lstStyle/>
          <a:p>
            <a:r>
              <a:rPr lang="de-CH" dirty="0"/>
              <a:t>23.07.2023, Thomas Graf – thomas.graf@swisscom.com</a:t>
            </a:r>
            <a:br>
              <a:rPr lang="de-CH" dirty="0"/>
            </a:br>
            <a:r>
              <a:rPr lang="de-CH" i="1" dirty="0"/>
              <a:t>Picture: Apollo 8, </a:t>
            </a:r>
            <a:r>
              <a:rPr lang="de-CH" i="1" dirty="0" err="1"/>
              <a:t>December</a:t>
            </a:r>
            <a:r>
              <a:rPr lang="de-CH" i="1" dirty="0"/>
              <a:t> 24th 1968</a:t>
            </a:r>
          </a:p>
          <a:p>
            <a:endParaRPr lang="de-CH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3B32741-1D07-41AE-8EB3-8E631C86E5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34136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C72DBFF-B1EF-DED6-29FB-DA2B320D6720}"/>
              </a:ext>
            </a:extLst>
          </p:cNvPr>
          <p:cNvSpPr/>
          <p:nvPr/>
        </p:nvSpPr>
        <p:spPr bwMode="gray">
          <a:xfrm>
            <a:off x="8572500" y="-14735"/>
            <a:ext cx="3619500" cy="6858000"/>
          </a:xfrm>
          <a:prstGeom prst="rect">
            <a:avLst/>
          </a:prstGeom>
          <a:solidFill>
            <a:srgbClr val="DDE3E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1CC9C78-2B19-41B7-9039-4C3C6946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Monitor L3 VPN Relationships in Near Real-Time</a:t>
            </a:r>
            <a:br>
              <a:rPr lang="en-GB" dirty="0"/>
            </a:br>
            <a:r>
              <a:rPr lang="en-US" b="0" dirty="0">
                <a:solidFill>
                  <a:schemeClr val="bg1">
                    <a:lumMod val="65000"/>
                  </a:schemeClr>
                </a:solidFill>
              </a:rPr>
              <a:t>What Interfaces are for Flows, </a:t>
            </a:r>
            <a:r>
              <a:rPr lang="en-US" b="0" dirty="0" err="1">
                <a:solidFill>
                  <a:schemeClr val="bg1">
                    <a:lumMod val="65000"/>
                  </a:schemeClr>
                </a:solidFill>
              </a:rPr>
              <a:t>Peerings</a:t>
            </a:r>
            <a:r>
              <a:rPr lang="en-US" b="0" dirty="0">
                <a:solidFill>
                  <a:schemeClr val="bg1">
                    <a:lumMod val="65000"/>
                  </a:schemeClr>
                </a:solidFill>
              </a:rPr>
              <a:t> are for BGP</a:t>
            </a:r>
            <a:endParaRPr lang="en-GB" b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D81DEC37-A600-4F6C-AE22-C81D97BEC2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07359" y="332656"/>
            <a:ext cx="3244369" cy="4536504"/>
          </a:xfrm>
        </p:spPr>
        <p:txBody>
          <a:bodyPr/>
          <a:lstStyle/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b="1" dirty="0"/>
              <a:t>Interface State - </a:t>
            </a:r>
            <a:r>
              <a:rPr lang="en-US" dirty="0"/>
              <a:t>Determine which Interfaces belong to the L3 VPN and track their state. 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b="1" dirty="0"/>
              <a:t>BGP Peering State - </a:t>
            </a:r>
            <a:r>
              <a:rPr lang="en-US" dirty="0"/>
              <a:t>Determine which BGP </a:t>
            </a:r>
            <a:r>
              <a:rPr lang="en-US" dirty="0" err="1"/>
              <a:t>peerings</a:t>
            </a:r>
            <a:r>
              <a:rPr lang="en-US" dirty="0"/>
              <a:t> belong to the L3 VPN and track their state. 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b="1" dirty="0"/>
              <a:t>BGP Updates/Withdrawals - </a:t>
            </a:r>
            <a:r>
              <a:rPr lang="en-US" dirty="0"/>
              <a:t>Determine which BGP paths belong to the L3 VPN and track their state. 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b="1" dirty="0"/>
              <a:t>Traffic Drop -  </a:t>
            </a:r>
            <a:r>
              <a:rPr lang="en-US" dirty="0"/>
              <a:t>Determine which traffic flows belong to the L3 VPN and track wherever the dropped byte count spikes. 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b="1" dirty="0"/>
              <a:t>Flow Count Change - </a:t>
            </a:r>
            <a:r>
              <a:rPr lang="en-US" dirty="0"/>
              <a:t>Determine which traffic flows belong to the L3 VPN and track wherever the flow count drops or spikes. 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b="1" dirty="0"/>
              <a:t>Missing Traffic - </a:t>
            </a:r>
            <a:r>
              <a:rPr lang="en-US" dirty="0"/>
              <a:t>Determine which traffic flows belong to the L3 VPN and compare the forwarded byte count to previous week. </a:t>
            </a:r>
          </a:p>
          <a:p>
            <a:pPr marL="342900" indent="-342900">
              <a:spcBef>
                <a:spcPts val="2400"/>
              </a:spcBef>
              <a:buClr>
                <a:schemeClr val="accent2"/>
              </a:buClr>
              <a:buFont typeface="+mj-lt"/>
              <a:buAutoNum type="arabicPeriod"/>
            </a:pPr>
            <a:endParaRPr lang="en-US" sz="1800" b="1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1A88332-9014-6945-0CD0-FC8D32AC72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662" y="1575940"/>
            <a:ext cx="8127566" cy="5267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8149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1CC9C78-2B19-41B7-9039-4C3C6946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From Network to Alert Event</a:t>
            </a:r>
            <a:br>
              <a:rPr lang="en-GB" dirty="0"/>
            </a:br>
            <a:r>
              <a:rPr lang="en-US" b="0" dirty="0">
                <a:solidFill>
                  <a:schemeClr val="bg1">
                    <a:lumMod val="65000"/>
                  </a:schemeClr>
                </a:solidFill>
              </a:rPr>
              <a:t>Observe multiple perspectives at different times</a:t>
            </a:r>
            <a:endParaRPr lang="en-GB" b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D81DEC37-A600-4F6C-AE22-C81D97BEC2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9456" y="1637646"/>
            <a:ext cx="6156841" cy="4536504"/>
          </a:xfrm>
        </p:spPr>
        <p:txBody>
          <a:bodyPr/>
          <a:lstStyle/>
          <a:p>
            <a:pPr marL="342900" indent="-342900">
              <a:spcBef>
                <a:spcPts val="24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US" sz="1800" b="1" dirty="0"/>
              <a:t>A single link down </a:t>
            </a:r>
            <a:r>
              <a:rPr lang="en-US" sz="1800" dirty="0"/>
              <a:t>result in multiple device topology, control-plane and forwarding-plane events being exposed at different times.</a:t>
            </a:r>
          </a:p>
          <a:p>
            <a:pPr marL="342900" indent="-342900">
              <a:spcBef>
                <a:spcPts val="18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US" sz="1800" b="1" dirty="0"/>
              <a:t>Determine </a:t>
            </a:r>
            <a:r>
              <a:rPr lang="en-US" sz="1800" dirty="0"/>
              <a:t>which interfaces and BGP </a:t>
            </a:r>
            <a:r>
              <a:rPr lang="en-US" sz="1800" dirty="0" err="1"/>
              <a:t>peerings</a:t>
            </a:r>
            <a:r>
              <a:rPr lang="en-US" sz="1800" dirty="0"/>
              <a:t> are being used first and then observe state. </a:t>
            </a:r>
            <a:r>
              <a:rPr lang="en-US" sz="1800" b="1" dirty="0"/>
              <a:t>Observe </a:t>
            </a:r>
            <a:r>
              <a:rPr lang="en-US" sz="1800" dirty="0"/>
              <a:t>BGP withdrawals and updates, traffic drop spikes and missing traffic. Generate multiple concerns.</a:t>
            </a:r>
          </a:p>
          <a:p>
            <a:pPr marL="342900" indent="-342900">
              <a:spcBef>
                <a:spcPts val="18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US" sz="1800" b="1" dirty="0"/>
              <a:t>Calculate </a:t>
            </a:r>
            <a:r>
              <a:rPr lang="en-US" sz="1800" dirty="0"/>
              <a:t>for each check a concern score between 0 and 1. </a:t>
            </a:r>
            <a:r>
              <a:rPr lang="en-US" sz="1800" b="1" dirty="0"/>
              <a:t>The higher, the more probable </a:t>
            </a:r>
            <a:r>
              <a:rPr lang="en-US" sz="1800" dirty="0"/>
              <a:t>the changes impacted forwarding.</a:t>
            </a:r>
          </a:p>
          <a:p>
            <a:pPr marL="342900" indent="-342900">
              <a:spcBef>
                <a:spcPts val="18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US" sz="1800" b="1" dirty="0"/>
              <a:t>Unify </a:t>
            </a:r>
            <a:r>
              <a:rPr lang="en-US" sz="1800" dirty="0"/>
              <a:t>several concerns for one VPN connectivity service to one alert identifier.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40B9623-81DE-4C90-ABB0-B84BCC0CD7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07277" y="208249"/>
            <a:ext cx="3904179" cy="6441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1167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36">
            <a:extLst>
              <a:ext uri="{FF2B5EF4-FFF2-40B4-BE49-F238E27FC236}">
                <a16:creationId xmlns:a16="http://schemas.microsoft.com/office/drawing/2014/main" id="{24794628-93B2-4287-8DE8-8D7DA287A7AC}"/>
              </a:ext>
            </a:extLst>
          </p:cNvPr>
          <p:cNvCxnSpPr>
            <a:cxnSpLocks/>
          </p:cNvCxnSpPr>
          <p:nvPr/>
        </p:nvCxnSpPr>
        <p:spPr bwMode="gray">
          <a:xfrm>
            <a:off x="398029" y="4063873"/>
            <a:ext cx="225047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8B456E0E-5DDE-4089-9DCE-9AAA5FDE8DF1}"/>
              </a:ext>
            </a:extLst>
          </p:cNvPr>
          <p:cNvSpPr/>
          <p:nvPr/>
        </p:nvSpPr>
        <p:spPr bwMode="gray">
          <a:xfrm>
            <a:off x="384041" y="4063873"/>
            <a:ext cx="2023256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r>
              <a:rPr lang="en-US" sz="2200" b="1" dirty="0">
                <a:solidFill>
                  <a:schemeClr val="tx1"/>
                </a:solidFill>
              </a:rPr>
              <a:t>5</a:t>
            </a:r>
          </a:p>
          <a:p>
            <a:r>
              <a:rPr lang="en-US" sz="2000" b="1" dirty="0">
                <a:solidFill>
                  <a:srgbClr val="FF0000"/>
                </a:solidFill>
              </a:rPr>
              <a:t>Three </a:t>
            </a:r>
            <a:r>
              <a:rPr lang="en-US" sz="2000" dirty="0">
                <a:solidFill>
                  <a:schemeClr val="tx1"/>
                </a:solidFill>
              </a:rPr>
              <a:t>out of Six checks</a:t>
            </a:r>
          </a:p>
        </p:txBody>
      </p:sp>
      <p:cxnSp>
        <p:nvCxnSpPr>
          <p:cNvPr id="42" name="Gerade Verbindung 36">
            <a:extLst>
              <a:ext uri="{FF2B5EF4-FFF2-40B4-BE49-F238E27FC236}">
                <a16:creationId xmlns:a16="http://schemas.microsoft.com/office/drawing/2014/main" id="{75ED4159-BB32-47C2-A4F6-8479D199AB55}"/>
              </a:ext>
            </a:extLst>
          </p:cNvPr>
          <p:cNvCxnSpPr>
            <a:cxnSpLocks/>
          </p:cNvCxnSpPr>
          <p:nvPr/>
        </p:nvCxnSpPr>
        <p:spPr bwMode="gray">
          <a:xfrm>
            <a:off x="5671317" y="4353128"/>
            <a:ext cx="225047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1">
            <a:extLst>
              <a:ext uri="{FF2B5EF4-FFF2-40B4-BE49-F238E27FC236}">
                <a16:creationId xmlns:a16="http://schemas.microsoft.com/office/drawing/2014/main" id="{762036C5-E77B-4751-812A-6832DCE80D84}"/>
              </a:ext>
            </a:extLst>
          </p:cNvPr>
          <p:cNvCxnSpPr>
            <a:cxnSpLocks/>
          </p:cNvCxnSpPr>
          <p:nvPr/>
        </p:nvCxnSpPr>
        <p:spPr bwMode="gray">
          <a:xfrm>
            <a:off x="4886269" y="2123730"/>
            <a:ext cx="30355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41">
            <a:extLst>
              <a:ext uri="{FF2B5EF4-FFF2-40B4-BE49-F238E27FC236}">
                <a16:creationId xmlns:a16="http://schemas.microsoft.com/office/drawing/2014/main" id="{4046372C-E408-4192-B828-970B019234EA}"/>
              </a:ext>
            </a:extLst>
          </p:cNvPr>
          <p:cNvCxnSpPr>
            <a:cxnSpLocks/>
          </p:cNvCxnSpPr>
          <p:nvPr/>
        </p:nvCxnSpPr>
        <p:spPr bwMode="gray">
          <a:xfrm>
            <a:off x="384041" y="2067743"/>
            <a:ext cx="30355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79213351-B4A1-499A-80D3-E7334E433E3F}"/>
              </a:ext>
            </a:extLst>
          </p:cNvPr>
          <p:cNvSpPr/>
          <p:nvPr/>
        </p:nvSpPr>
        <p:spPr bwMode="gray">
          <a:xfrm>
            <a:off x="384041" y="2067743"/>
            <a:ext cx="2023256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r>
              <a:rPr lang="en-US" sz="2200" b="1" dirty="0">
                <a:solidFill>
                  <a:schemeClr val="tx1"/>
                </a:solidFill>
              </a:rPr>
              <a:t>1</a:t>
            </a:r>
          </a:p>
          <a:p>
            <a:r>
              <a:rPr lang="en-US" sz="2000" b="1" dirty="0">
                <a:solidFill>
                  <a:srgbClr val="FF0000"/>
                </a:solidFill>
              </a:rPr>
              <a:t>One</a:t>
            </a:r>
            <a:r>
              <a:rPr lang="en-US" sz="2000" b="1" dirty="0">
                <a:solidFill>
                  <a:schemeClr val="tx1"/>
                </a:solidFill>
              </a:rPr>
              <a:t> </a:t>
            </a:r>
            <a:r>
              <a:rPr lang="en-US" sz="2000" dirty="0">
                <a:solidFill>
                  <a:schemeClr val="tx1"/>
                </a:solidFill>
              </a:rPr>
              <a:t>out of Six checks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8EE7777F-2068-4967-99F5-C7AAE9E07F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2</a:t>
            </a:fld>
            <a:endParaRPr lang="en-US" dirty="0"/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8CA8D263-7904-4811-AC9D-A10A3C4D3AFD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2329558" y="1211721"/>
          <a:ext cx="3663559" cy="4834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64D0EFE4-0E47-4FA6-B495-302B113396E3}"/>
              </a:ext>
            </a:extLst>
          </p:cNvPr>
          <p:cNvSpPr/>
          <p:nvPr/>
        </p:nvSpPr>
        <p:spPr bwMode="gray">
          <a:xfrm>
            <a:off x="5750364" y="2123730"/>
            <a:ext cx="2171425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algn="r"/>
            <a:r>
              <a:rPr lang="en-US" sz="2200" b="1" dirty="0">
                <a:solidFill>
                  <a:schemeClr val="tx1"/>
                </a:solidFill>
              </a:rPr>
              <a:t>1</a:t>
            </a:r>
          </a:p>
          <a:p>
            <a:pPr algn="r"/>
            <a:r>
              <a:rPr lang="en-US" sz="2000" b="1" dirty="0">
                <a:solidFill>
                  <a:srgbClr val="FF0000"/>
                </a:solidFill>
              </a:rPr>
              <a:t>Four</a:t>
            </a:r>
            <a:r>
              <a:rPr lang="en-US" sz="2000" dirty="0">
                <a:solidFill>
                  <a:schemeClr val="tx1"/>
                </a:solidFill>
              </a:rPr>
              <a:t> out of Six check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7258568-8D29-440F-91D9-B6AC77A42C48}"/>
              </a:ext>
            </a:extLst>
          </p:cNvPr>
          <p:cNvSpPr/>
          <p:nvPr/>
        </p:nvSpPr>
        <p:spPr bwMode="gray">
          <a:xfrm>
            <a:off x="5750364" y="4353128"/>
            <a:ext cx="2171425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algn="r"/>
            <a:r>
              <a:rPr lang="en-US" sz="2200" b="1" dirty="0">
                <a:solidFill>
                  <a:schemeClr val="tx1"/>
                </a:solidFill>
              </a:rPr>
              <a:t>3</a:t>
            </a:r>
          </a:p>
          <a:p>
            <a:pPr algn="r"/>
            <a:r>
              <a:rPr lang="en-US" sz="2000" b="1" dirty="0">
                <a:solidFill>
                  <a:srgbClr val="FF0000"/>
                </a:solidFill>
              </a:rPr>
              <a:t>Two</a:t>
            </a:r>
            <a:r>
              <a:rPr lang="en-US" sz="2000" dirty="0">
                <a:solidFill>
                  <a:schemeClr val="tx1"/>
                </a:solidFill>
              </a:rPr>
              <a:t> out of Six checks</a:t>
            </a: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A3F780A5-BEEB-42EF-A88D-19FF59B9485A}"/>
              </a:ext>
            </a:extLst>
          </p:cNvPr>
          <p:cNvSpPr/>
          <p:nvPr/>
        </p:nvSpPr>
        <p:spPr bwMode="gray">
          <a:xfrm>
            <a:off x="2943585" y="2337822"/>
            <a:ext cx="2435503" cy="2486898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10 Network Incidents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AE0C8B0E-A4DE-0F83-CE09-A20D71FC3655}"/>
              </a:ext>
            </a:extLst>
          </p:cNvPr>
          <p:cNvSpPr txBox="1">
            <a:spLocks/>
          </p:cNvSpPr>
          <p:nvPr/>
        </p:nvSpPr>
        <p:spPr>
          <a:xfrm>
            <a:off x="1027998" y="332656"/>
            <a:ext cx="9279784" cy="720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Network Anomaly Detection PoC Detail</a:t>
            </a:r>
            <a:br>
              <a:rPr lang="en-US" dirty="0"/>
            </a:br>
            <a:r>
              <a:rPr lang="en-US" b="0" dirty="0">
                <a:solidFill>
                  <a:schemeClr val="bg1">
                    <a:lumMod val="65000"/>
                  </a:schemeClr>
                </a:solidFill>
              </a:rPr>
              <a:t>Multiple Perspectives increases Accuracy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8DDCBF53-33AD-C881-4EFA-79299A44DDE8}"/>
              </a:ext>
            </a:extLst>
          </p:cNvPr>
          <p:cNvSpPr txBox="1">
            <a:spLocks/>
          </p:cNvSpPr>
          <p:nvPr/>
        </p:nvSpPr>
        <p:spPr bwMode="gray">
          <a:xfrm>
            <a:off x="8426760" y="-2916"/>
            <a:ext cx="3792536" cy="6858000"/>
          </a:xfrm>
          <a:prstGeom prst="rect">
            <a:avLst/>
          </a:prstGeom>
          <a:solidFill>
            <a:srgbClr val="DDE3E7"/>
          </a:solidFill>
        </p:spPr>
        <p:txBody>
          <a:bodyPr lIns="144000" tIns="0" rIns="0" bIns="0"/>
          <a:lstStyle>
            <a:defPPr>
              <a:defRPr lang="de-DE"/>
            </a:defPPr>
            <a:lvl1pPr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/>
            </a:lvl1pPr>
            <a:lvl2pPr marL="18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/>
            </a:lvl2pPr>
            <a:lvl3pPr marL="36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/>
            </a:lvl3pPr>
            <a:lvl4pPr marL="54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/>
            </a:lvl4pPr>
            <a:lvl5pPr marL="54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/>
            </a:lvl5pPr>
            <a:lvl6pPr marL="54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/>
            </a:lvl6pPr>
            <a:lvl7pPr marL="54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/>
            </a:lvl7pPr>
            <a:lvl8pPr marL="54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/>
            </a:lvl8pPr>
            <a:lvl9pPr marL="540000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/>
            </a:lvl9pPr>
          </a:lstStyle>
          <a:p>
            <a:endParaRPr lang="en-US"/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6DC81F34-7EA9-C84D-D7BC-2F5514AC4CE4}"/>
              </a:ext>
            </a:extLst>
          </p:cNvPr>
          <p:cNvSpPr txBox="1">
            <a:spLocks/>
          </p:cNvSpPr>
          <p:nvPr/>
        </p:nvSpPr>
        <p:spPr bwMode="black">
          <a:xfrm>
            <a:off x="8729758" y="1211721"/>
            <a:ext cx="3342005" cy="5524982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2000" b="1" dirty="0">
                <a:solidFill>
                  <a:schemeClr val="bg2"/>
                </a:solidFill>
              </a:rPr>
              <a:t>Key Facts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sz="1400" b="1" dirty="0">
                <a:solidFill>
                  <a:srgbClr val="FF0000"/>
                </a:solidFill>
              </a:rPr>
              <a:t>Networks are deterministic, Customers somewhat holds true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sz="1400" dirty="0"/>
              <a:t>Max Concern score ranged between 0.25 and 0.85. In average 0.46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sz="1400" dirty="0"/>
              <a:t>Incident patterns are repetitive. Month by month scoring improvements visible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sz="1400" dirty="0"/>
              <a:t>Individual expert rule accuracy is beyond 90%. Summed accuracy is beyond 95%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sz="1400" dirty="0"/>
              <a:t>Record and Replay Digital Twin works like a charm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sz="1400" dirty="0"/>
              <a:t>In 4 cases additional YANG, in 2 cases additional BMP, in 2 cases Netconf Transaction-ID and 1 case additional </a:t>
            </a:r>
            <a:br>
              <a:rPr lang="en-US" sz="1400" dirty="0"/>
            </a:br>
            <a:r>
              <a:rPr lang="en-US" sz="1400" dirty="0"/>
              <a:t>L2 IPFIX metrics would have helped to gain more visibility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sz="1400" b="1" dirty="0">
                <a:solidFill>
                  <a:srgbClr val="FF0000"/>
                </a:solidFill>
              </a:rPr>
              <a:t>Presented at ANRW 2023 at IETF 117 on Monday July 24</a:t>
            </a:r>
            <a:r>
              <a:rPr lang="en-US" sz="1400" b="1" baseline="30000" dirty="0">
                <a:solidFill>
                  <a:srgbClr val="FF0000"/>
                </a:solidFill>
              </a:rPr>
              <a:t>th</a:t>
            </a:r>
            <a:r>
              <a:rPr lang="en-US" sz="1400" b="1" dirty="0">
                <a:solidFill>
                  <a:srgbClr val="FF0000"/>
                </a:solidFill>
              </a:rPr>
              <a:t> 15:30 – 17:00.</a:t>
            </a:r>
          </a:p>
        </p:txBody>
      </p:sp>
    </p:spTree>
    <p:extLst>
      <p:ext uri="{BB962C8B-B14F-4D97-AF65-F5344CB8AC3E}">
        <p14:creationId xmlns:p14="http://schemas.microsoft.com/office/powerpoint/2010/main" val="20589836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BE5644D-AF4A-4732-B3D8-A1D12FF5A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9453" y="332656"/>
            <a:ext cx="9856473" cy="720000"/>
          </a:xfrm>
        </p:spPr>
        <p:txBody>
          <a:bodyPr/>
          <a:lstStyle/>
          <a:p>
            <a:r>
              <a:rPr lang="en-US" sz="2300" dirty="0"/>
              <a:t>January 29</a:t>
            </a:r>
            <a:r>
              <a:rPr lang="en-US" sz="2300" baseline="30000" dirty="0"/>
              <a:t>th</a:t>
            </a:r>
            <a:r>
              <a:rPr lang="en-US" sz="2300" dirty="0"/>
              <a:t> 2023, B2B Customer LAN-I Secure CER Traffic Blackholing</a:t>
            </a:r>
            <a:br>
              <a:rPr lang="en-US" sz="2300" dirty="0"/>
            </a:br>
            <a:r>
              <a:rPr lang="en-US" b="0" dirty="0">
                <a:solidFill>
                  <a:schemeClr val="bg1">
                    <a:lumMod val="65000"/>
                  </a:schemeClr>
                </a:solidFill>
              </a:rPr>
              <a:t>Logical Connection 785 - L3 VPN monitored By Network Anomaly Detec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D9AF321-8180-4636-92A5-FBA84028EE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9454" y="1241795"/>
            <a:ext cx="8492528" cy="509888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38BDD15-C3DB-4F97-BCA0-48BBCE5AE303}"/>
              </a:ext>
            </a:extLst>
          </p:cNvPr>
          <p:cNvCxnSpPr/>
          <p:nvPr/>
        </p:nvCxnSpPr>
        <p:spPr bwMode="gray">
          <a:xfrm>
            <a:off x="4629150" y="1924050"/>
            <a:ext cx="0" cy="4416628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1A5EDE6-00BC-4A2D-A20F-D44C86E6C228}"/>
              </a:ext>
            </a:extLst>
          </p:cNvPr>
          <p:cNvCxnSpPr/>
          <p:nvPr/>
        </p:nvCxnSpPr>
        <p:spPr bwMode="gray">
          <a:xfrm>
            <a:off x="5153025" y="1924050"/>
            <a:ext cx="0" cy="4416628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A2C1A01-2F25-480D-9B52-23E469EEF73B}"/>
              </a:ext>
            </a:extLst>
          </p:cNvPr>
          <p:cNvCxnSpPr/>
          <p:nvPr/>
        </p:nvCxnSpPr>
        <p:spPr bwMode="gray">
          <a:xfrm>
            <a:off x="6686550" y="1924050"/>
            <a:ext cx="0" cy="4416628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27121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FFEF67-E1A5-46F0-B3D1-61B283B93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CH" sz="16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FFEBC078-840D-496B-951C-4D85E87523F4}"/>
              </a:ext>
            </a:extLst>
          </p:cNvPr>
          <p:cNvSpPr txBox="1">
            <a:spLocks/>
          </p:cNvSpPr>
          <p:nvPr/>
        </p:nvSpPr>
        <p:spPr bwMode="black">
          <a:xfrm>
            <a:off x="1577740" y="1170179"/>
            <a:ext cx="5616000" cy="333163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magine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that with such a Network Anomaly Detection alert,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 reference to the Digital Map is included, dependencies are being shown in real-time and you can play the changes backwards in time.</a:t>
            </a:r>
            <a:endParaRPr kumimoji="0" lang="en-US" sz="3200" b="1" i="0" u="none" strike="noStrike" kern="1200" cap="none" spc="-5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B65E8382-D249-4EAA-945F-BE4D472F3160}"/>
              </a:ext>
            </a:extLst>
          </p:cNvPr>
          <p:cNvSpPr txBox="1">
            <a:spLocks/>
          </p:cNvSpPr>
          <p:nvPr/>
        </p:nvSpPr>
        <p:spPr bwMode="black">
          <a:xfrm rot="10800000">
            <a:off x="7380857" y="3689849"/>
            <a:ext cx="504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91558629-AEE2-40B0-82F9-7CB0723A1A19}"/>
              </a:ext>
            </a:extLst>
          </p:cNvPr>
          <p:cNvSpPr txBox="1">
            <a:spLocks/>
          </p:cNvSpPr>
          <p:nvPr/>
        </p:nvSpPr>
        <p:spPr bwMode="black">
          <a:xfrm>
            <a:off x="742623" y="1040441"/>
            <a:ext cx="648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pic>
        <p:nvPicPr>
          <p:cNvPr id="3" name="Grafik 4">
            <a:extLst>
              <a:ext uri="{FF2B5EF4-FFF2-40B4-BE49-F238E27FC236}">
                <a16:creationId xmlns:a16="http://schemas.microsoft.com/office/drawing/2014/main" id="{FFB8AA38-4F95-A2ED-9A95-FC9AA40F6A1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08037" y="0"/>
            <a:ext cx="33115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9484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8EE7777F-2068-4967-99F5-C7AAE9E07F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888076A8-E832-4482-81D7-F118AA3F585C}"/>
              </a:ext>
            </a:extLst>
          </p:cNvPr>
          <p:cNvSpPr txBox="1">
            <a:spLocks/>
          </p:cNvSpPr>
          <p:nvPr/>
        </p:nvSpPr>
        <p:spPr>
          <a:xfrm>
            <a:off x="1027998" y="332656"/>
            <a:ext cx="9603980" cy="720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Nationwide Network Outages everywhere</a:t>
            </a:r>
            <a:br>
              <a:rPr lang="en-US" dirty="0"/>
            </a:br>
            <a:r>
              <a:rPr lang="en-US" b="0" dirty="0">
                <a:solidFill>
                  <a:schemeClr val="bg1">
                    <a:lumMod val="65000"/>
                  </a:schemeClr>
                </a:solidFill>
              </a:rPr>
              <a:t>Increasing in impact and duration - hinting Network Visibility deficiencies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8F4BEDA-9609-474A-8EBF-BE83590D75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7998" y="1487136"/>
            <a:ext cx="2922661" cy="249760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438AC47-E081-4AD1-9DA1-4A085B6D27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04832" y="1416720"/>
            <a:ext cx="2856750" cy="28145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92B0E26-807A-425C-BA36-10628AAA4D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25240" y="1487135"/>
            <a:ext cx="2905010" cy="267373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E0435BA-D7F9-43A2-8427-E109B1E4659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78610" y="3942768"/>
            <a:ext cx="2712370" cy="28145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7807C86-4C8A-4F3A-ACA6-D8441450D5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01020" y="3791319"/>
            <a:ext cx="2571990" cy="298682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356AA7C-D99A-4F4E-B017-270754C8305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30210" y="4014431"/>
            <a:ext cx="4196973" cy="2540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3179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FFEF67-E1A5-46F0-B3D1-61B283B93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CH" sz="16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FFEBC078-840D-496B-951C-4D85E87523F4}"/>
              </a:ext>
            </a:extLst>
          </p:cNvPr>
          <p:cNvSpPr txBox="1">
            <a:spLocks/>
          </p:cNvSpPr>
          <p:nvPr/>
        </p:nvSpPr>
        <p:spPr bwMode="black">
          <a:xfrm>
            <a:off x="5448000" y="1386180"/>
            <a:ext cx="5616000" cy="28179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he customer knows before Swisscom that there is service interruption.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Unable to recognize impact and root cause when configurational or operational network changes occur.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wisscom suffers reputation damage. </a:t>
            </a:r>
            <a:b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</a:b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We need to work together to mediate.</a:t>
            </a:r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B65E8382-D249-4EAA-945F-BE4D472F3160}"/>
              </a:ext>
            </a:extLst>
          </p:cNvPr>
          <p:cNvSpPr txBox="1">
            <a:spLocks/>
          </p:cNvSpPr>
          <p:nvPr/>
        </p:nvSpPr>
        <p:spPr bwMode="black">
          <a:xfrm rot="10800000">
            <a:off x="11346223" y="3776342"/>
            <a:ext cx="504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91558629-AEE2-40B0-82F9-7CB0723A1A19}"/>
              </a:ext>
            </a:extLst>
          </p:cNvPr>
          <p:cNvSpPr txBox="1">
            <a:spLocks/>
          </p:cNvSpPr>
          <p:nvPr/>
        </p:nvSpPr>
        <p:spPr bwMode="black">
          <a:xfrm>
            <a:off x="4800000" y="1301120"/>
            <a:ext cx="648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4229C52-005A-4F3A-826D-8B06B8B911BD}"/>
              </a:ext>
            </a:extLst>
          </p:cNvPr>
          <p:cNvSpPr txBox="1">
            <a:spLocks/>
          </p:cNvSpPr>
          <p:nvPr/>
        </p:nvSpPr>
        <p:spPr bwMode="black">
          <a:xfrm>
            <a:off x="4800000" y="5157000"/>
            <a:ext cx="6264000" cy="12247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arkus Reber</a:t>
            </a:r>
          </a:p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Head of Networks at Swisscom 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pic>
        <p:nvPicPr>
          <p:cNvPr id="13" name="Picture Placeholder 5">
            <a:extLst>
              <a:ext uri="{FF2B5EF4-FFF2-40B4-BE49-F238E27FC236}">
                <a16:creationId xmlns:a16="http://schemas.microsoft.com/office/drawing/2014/main" id="{AD0B5DF3-6C20-4CC0-8B13-00771DDE54E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500" r="35350"/>
          <a:stretch/>
        </p:blipFill>
        <p:spPr>
          <a:xfrm>
            <a:off x="1201777" y="0"/>
            <a:ext cx="331012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7076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17A6DA17-156A-4F5E-B81C-D64FF1E7B8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de-CH" smtClean="0"/>
              <a:pPr/>
              <a:t>4</a:t>
            </a:fld>
            <a:endParaRPr lang="de-CH" dirty="0"/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8D11295F-2BFA-40E0-8C05-BFE2BB9FEF4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760155" y="1409737"/>
            <a:ext cx="10887639" cy="2755325"/>
          </a:xfrm>
        </p:spPr>
        <p:txBody>
          <a:bodyPr/>
          <a:lstStyle/>
          <a:p>
            <a:pPr algn="ctr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3600" dirty="0"/>
              <a:t>“ </a:t>
            </a:r>
            <a:r>
              <a:rPr lang="en-US" sz="3600" i="1" dirty="0"/>
              <a:t>It is our duty to recognize service interruption </a:t>
            </a:r>
            <a:br>
              <a:rPr lang="en-US" sz="3600" i="1" dirty="0"/>
            </a:br>
            <a:r>
              <a:rPr lang="en-US" sz="3600" i="1" dirty="0"/>
              <a:t>before our customer does.</a:t>
            </a:r>
            <a:br>
              <a:rPr lang="en-US" sz="3600" i="1" dirty="0"/>
            </a:br>
            <a:r>
              <a:rPr lang="en-US" sz="3600" i="1" dirty="0"/>
              <a:t>Why do we still often fail to be first ? </a:t>
            </a:r>
            <a:r>
              <a:rPr lang="en-US" sz="3600" dirty="0"/>
              <a:t>“</a:t>
            </a:r>
            <a:endParaRPr lang="de-CH" sz="3600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7209106-683C-4E8E-9C26-ED12DED9E902}"/>
              </a:ext>
            </a:extLst>
          </p:cNvPr>
          <p:cNvGrpSpPr/>
          <p:nvPr/>
        </p:nvGrpSpPr>
        <p:grpSpPr>
          <a:xfrm>
            <a:off x="4750838" y="5180742"/>
            <a:ext cx="2690324" cy="724949"/>
            <a:chOff x="8955783" y="324085"/>
            <a:chExt cx="2690324" cy="724949"/>
          </a:xfrm>
        </p:grpSpPr>
        <p:grpSp>
          <p:nvGrpSpPr>
            <p:cNvPr id="11" name="Gruppieren 168">
              <a:extLst>
                <a:ext uri="{FF2B5EF4-FFF2-40B4-BE49-F238E27FC236}">
                  <a16:creationId xmlns:a16="http://schemas.microsoft.com/office/drawing/2014/main" id="{14DC1D05-0086-4C2B-8E18-ABD9BF1D37D8}"/>
                </a:ext>
              </a:extLst>
            </p:cNvPr>
            <p:cNvGrpSpPr/>
            <p:nvPr/>
          </p:nvGrpSpPr>
          <p:grpSpPr>
            <a:xfrm>
              <a:off x="8955783" y="324085"/>
              <a:ext cx="702670" cy="712587"/>
              <a:chOff x="10366017" y="30973"/>
              <a:chExt cx="2246316" cy="2278019"/>
            </a:xfrm>
          </p:grpSpPr>
          <p:grpSp>
            <p:nvGrpSpPr>
              <p:cNvPr id="86" name="Grafik 5">
                <a:extLst>
                  <a:ext uri="{FF2B5EF4-FFF2-40B4-BE49-F238E27FC236}">
                    <a16:creationId xmlns:a16="http://schemas.microsoft.com/office/drawing/2014/main" id="{B82DDF56-43C4-4D1B-8671-9D28D6A7C88F}"/>
                  </a:ext>
                </a:extLst>
              </p:cNvPr>
              <p:cNvGrpSpPr/>
              <p:nvPr/>
            </p:nvGrpSpPr>
            <p:grpSpPr>
              <a:xfrm>
                <a:off x="10366017" y="30973"/>
                <a:ext cx="2246316" cy="2278019"/>
                <a:chOff x="10396141" y="22604"/>
                <a:chExt cx="2246316" cy="2278019"/>
              </a:xfrm>
            </p:grpSpPr>
            <p:grpSp>
              <p:nvGrpSpPr>
                <p:cNvPr id="88" name="Grafik 5">
                  <a:extLst>
                    <a:ext uri="{FF2B5EF4-FFF2-40B4-BE49-F238E27FC236}">
                      <a16:creationId xmlns:a16="http://schemas.microsoft.com/office/drawing/2014/main" id="{5BE20CCA-C28C-41E2-86CE-5B23E5F93D3D}"/>
                    </a:ext>
                  </a:extLst>
                </p:cNvPr>
                <p:cNvGrpSpPr/>
                <p:nvPr/>
              </p:nvGrpSpPr>
              <p:grpSpPr>
                <a:xfrm>
                  <a:off x="10396141" y="22604"/>
                  <a:ext cx="2246316" cy="2278019"/>
                  <a:chOff x="10396141" y="22604"/>
                  <a:chExt cx="2246316" cy="2278019"/>
                </a:xfrm>
              </p:grpSpPr>
              <p:sp>
                <p:nvSpPr>
                  <p:cNvPr id="90" name="Freihandform: Form 173">
                    <a:extLst>
                      <a:ext uri="{FF2B5EF4-FFF2-40B4-BE49-F238E27FC236}">
                        <a16:creationId xmlns:a16="http://schemas.microsoft.com/office/drawing/2014/main" id="{7C9C6FB6-AEB5-4CA9-8EE9-FE7C2E144E6F}"/>
                      </a:ext>
                    </a:extLst>
                  </p:cNvPr>
                  <p:cNvSpPr/>
                  <p:nvPr/>
                </p:nvSpPr>
                <p:spPr>
                  <a:xfrm>
                    <a:off x="11561309" y="346257"/>
                    <a:ext cx="822081" cy="810979"/>
                  </a:xfrm>
                  <a:custGeom>
                    <a:avLst/>
                    <a:gdLst>
                      <a:gd name="connsiteX0" fmla="*/ 0 w 822081"/>
                      <a:gd name="connsiteY0" fmla="*/ 769566 h 810979"/>
                      <a:gd name="connsiteX1" fmla="*/ 41413 w 822081"/>
                      <a:gd name="connsiteY1" fmla="*/ 810980 h 810979"/>
                      <a:gd name="connsiteX2" fmla="*/ 686588 w 822081"/>
                      <a:gd name="connsiteY2" fmla="*/ 329278 h 810979"/>
                      <a:gd name="connsiteX3" fmla="*/ 804289 w 822081"/>
                      <a:gd name="connsiteY3" fmla="*/ 15409 h 810979"/>
                      <a:gd name="connsiteX4" fmla="*/ 344384 w 822081"/>
                      <a:gd name="connsiteY4" fmla="*/ 279146 h 810979"/>
                      <a:gd name="connsiteX5" fmla="*/ 0 w 822081"/>
                      <a:gd name="connsiteY5" fmla="*/ 769566 h 8109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10979">
                        <a:moveTo>
                          <a:pt x="0" y="769566"/>
                        </a:moveTo>
                        <a:lnTo>
                          <a:pt x="41413" y="810980"/>
                        </a:lnTo>
                        <a:cubicBezTo>
                          <a:pt x="41413" y="810980"/>
                          <a:pt x="579786" y="470955"/>
                          <a:pt x="686588" y="329278"/>
                        </a:cubicBezTo>
                        <a:cubicBezTo>
                          <a:pt x="793391" y="187601"/>
                          <a:pt x="854421" y="91697"/>
                          <a:pt x="804289" y="15409"/>
                        </a:cubicBezTo>
                        <a:cubicBezTo>
                          <a:pt x="767235" y="-12926"/>
                          <a:pt x="597223" y="-36902"/>
                          <a:pt x="344384" y="279146"/>
                        </a:cubicBezTo>
                        <a:cubicBezTo>
                          <a:pt x="143857" y="553782"/>
                          <a:pt x="28335" y="708536"/>
                          <a:pt x="0" y="769566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1" name="Freihandform: Form 174">
                    <a:extLst>
                      <a:ext uri="{FF2B5EF4-FFF2-40B4-BE49-F238E27FC236}">
                        <a16:creationId xmlns:a16="http://schemas.microsoft.com/office/drawing/2014/main" id="{A5A1DFB5-3D1A-4C63-9F47-2944EDE19907}"/>
                      </a:ext>
                    </a:extLst>
                  </p:cNvPr>
                  <p:cNvSpPr/>
                  <p:nvPr/>
                </p:nvSpPr>
                <p:spPr>
                  <a:xfrm>
                    <a:off x="11584523" y="64140"/>
                    <a:ext cx="447589" cy="1112779"/>
                  </a:xfrm>
                  <a:custGeom>
                    <a:avLst/>
                    <a:gdLst>
                      <a:gd name="connsiteX0" fmla="*/ 4393 w 447589"/>
                      <a:gd name="connsiteY0" fmla="*/ 1077905 h 1112779"/>
                      <a:gd name="connsiteX1" fmla="*/ 78501 w 447589"/>
                      <a:gd name="connsiteY1" fmla="*/ 1112779 h 1112779"/>
                      <a:gd name="connsiteX2" fmla="*/ 440322 w 447589"/>
                      <a:gd name="connsiteY2" fmla="*/ 389137 h 1112779"/>
                      <a:gd name="connsiteX3" fmla="*/ 350957 w 447589"/>
                      <a:gd name="connsiteY3" fmla="*/ 5520 h 1112779"/>
                      <a:gd name="connsiteX4" fmla="*/ 39268 w 447589"/>
                      <a:gd name="connsiteY4" fmla="*/ 432730 h 1112779"/>
                      <a:gd name="connsiteX5" fmla="*/ 4393 w 447589"/>
                      <a:gd name="connsiteY5" fmla="*/ 1077905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7589" h="1112779">
                        <a:moveTo>
                          <a:pt x="4393" y="1077905"/>
                        </a:moveTo>
                        <a:lnTo>
                          <a:pt x="78501" y="1112779"/>
                        </a:lnTo>
                        <a:cubicBezTo>
                          <a:pt x="78501" y="1112779"/>
                          <a:pt x="425065" y="576587"/>
                          <a:pt x="440322" y="389137"/>
                        </a:cubicBezTo>
                        <a:cubicBezTo>
                          <a:pt x="455580" y="199508"/>
                          <a:pt x="455580" y="77448"/>
                          <a:pt x="350957" y="5520"/>
                        </a:cubicBezTo>
                        <a:cubicBezTo>
                          <a:pt x="292106" y="-16277"/>
                          <a:pt x="91579" y="7699"/>
                          <a:pt x="39268" y="432730"/>
                        </a:cubicBezTo>
                        <a:cubicBezTo>
                          <a:pt x="8752" y="794551"/>
                          <a:pt x="-8685" y="1001617"/>
                          <a:pt x="4393" y="1077905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" name="Freihandform: Form 175">
                    <a:extLst>
                      <a:ext uri="{FF2B5EF4-FFF2-40B4-BE49-F238E27FC236}">
                        <a16:creationId xmlns:a16="http://schemas.microsoft.com/office/drawing/2014/main" id="{557FAEFA-0C63-4F99-BA0D-98E75A5058DB}"/>
                      </a:ext>
                    </a:extLst>
                  </p:cNvPr>
                  <p:cNvSpPr/>
                  <p:nvPr/>
                </p:nvSpPr>
                <p:spPr>
                  <a:xfrm>
                    <a:off x="11600346" y="686711"/>
                    <a:ext cx="1003874" cy="450498"/>
                  </a:xfrm>
                  <a:custGeom>
                    <a:avLst/>
                    <a:gdLst>
                      <a:gd name="connsiteX0" fmla="*/ 19617 w 1003874"/>
                      <a:gd name="connsiteY0" fmla="*/ 450498 h 450498"/>
                      <a:gd name="connsiteX1" fmla="*/ 773774 w 1003874"/>
                      <a:gd name="connsiteY1" fmla="*/ 293564 h 450498"/>
                      <a:gd name="connsiteX2" fmla="*/ 1002637 w 1003874"/>
                      <a:gd name="connsiteY2" fmla="*/ 62522 h 450498"/>
                      <a:gd name="connsiteX3" fmla="*/ 496959 w 1003874"/>
                      <a:gd name="connsiteY3" fmla="*/ 101755 h 450498"/>
                      <a:gd name="connsiteX4" fmla="*/ 0 w 1003874"/>
                      <a:gd name="connsiteY4" fmla="*/ 391648 h 450498"/>
                      <a:gd name="connsiteX5" fmla="*/ 19617 w 1003874"/>
                      <a:gd name="connsiteY5" fmla="*/ 450498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19617" y="450498"/>
                        </a:moveTo>
                        <a:cubicBezTo>
                          <a:pt x="19617" y="450498"/>
                          <a:pt x="623378" y="376390"/>
                          <a:pt x="773774" y="293564"/>
                        </a:cubicBezTo>
                        <a:cubicBezTo>
                          <a:pt x="924169" y="210737"/>
                          <a:pt x="1015714" y="151887"/>
                          <a:pt x="1002637" y="62522"/>
                        </a:cubicBezTo>
                        <a:cubicBezTo>
                          <a:pt x="983020" y="21108"/>
                          <a:pt x="843523" y="-72616"/>
                          <a:pt x="496959" y="101755"/>
                        </a:cubicBezTo>
                        <a:cubicBezTo>
                          <a:pt x="211426" y="258690"/>
                          <a:pt x="50132" y="350235"/>
                          <a:pt x="0" y="391648"/>
                        </a:cubicBezTo>
                        <a:lnTo>
                          <a:pt x="19617" y="450498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3" name="Freihandform: Form 176">
                    <a:extLst>
                      <a:ext uri="{FF2B5EF4-FFF2-40B4-BE49-F238E27FC236}">
                        <a16:creationId xmlns:a16="http://schemas.microsoft.com/office/drawing/2014/main" id="{21934B1C-A5ED-41DD-B537-A8D527E77AA0}"/>
                      </a:ext>
                    </a:extLst>
                  </p:cNvPr>
                  <p:cNvSpPr/>
                  <p:nvPr/>
                </p:nvSpPr>
                <p:spPr>
                  <a:xfrm>
                    <a:off x="11558883" y="1289985"/>
                    <a:ext cx="920658" cy="548241"/>
                  </a:xfrm>
                  <a:custGeom>
                    <a:avLst/>
                    <a:gdLst>
                      <a:gd name="connsiteX0" fmla="*/ 30515 w 920658"/>
                      <a:gd name="connsiteY0" fmla="*/ 0 h 548241"/>
                      <a:gd name="connsiteX1" fmla="*/ 0 w 920658"/>
                      <a:gd name="connsiteY1" fmla="*/ 52311 h 548241"/>
                      <a:gd name="connsiteX2" fmla="*/ 597223 w 920658"/>
                      <a:gd name="connsiteY2" fmla="*/ 494779 h 548241"/>
                      <a:gd name="connsiteX3" fmla="*/ 915451 w 920658"/>
                      <a:gd name="connsiteY3" fmla="*/ 507857 h 548241"/>
                      <a:gd name="connsiteX4" fmla="*/ 564528 w 920658"/>
                      <a:gd name="connsiteY4" fmla="*/ 167833 h 548241"/>
                      <a:gd name="connsiteX5" fmla="*/ 30515 w 920658"/>
                      <a:gd name="connsiteY5" fmla="*/ 0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30515" y="0"/>
                        </a:moveTo>
                        <a:lnTo>
                          <a:pt x="0" y="52311"/>
                        </a:lnTo>
                        <a:cubicBezTo>
                          <a:pt x="0" y="52311"/>
                          <a:pt x="440288" y="442468"/>
                          <a:pt x="597223" y="494779"/>
                        </a:cubicBezTo>
                        <a:cubicBezTo>
                          <a:pt x="754157" y="549270"/>
                          <a:pt x="856600" y="575426"/>
                          <a:pt x="915451" y="507857"/>
                        </a:cubicBezTo>
                        <a:cubicBezTo>
                          <a:pt x="935068" y="466444"/>
                          <a:pt x="915451" y="302971"/>
                          <a:pt x="564528" y="167833"/>
                        </a:cubicBezTo>
                        <a:cubicBezTo>
                          <a:pt x="265917" y="67569"/>
                          <a:pt x="93725" y="8719"/>
                          <a:pt x="30515" y="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4" name="Freihandform: Form 177">
                    <a:extLst>
                      <a:ext uri="{FF2B5EF4-FFF2-40B4-BE49-F238E27FC236}">
                        <a16:creationId xmlns:a16="http://schemas.microsoft.com/office/drawing/2014/main" id="{2F58EB60-38A3-4FC5-894A-AE9D63A31CD9}"/>
                      </a:ext>
                    </a:extLst>
                  </p:cNvPr>
                  <p:cNvSpPr/>
                  <p:nvPr/>
                </p:nvSpPr>
                <p:spPr>
                  <a:xfrm>
                    <a:off x="11624519" y="1130985"/>
                    <a:ext cx="1017938" cy="292322"/>
                  </a:xfrm>
                  <a:custGeom>
                    <a:avLst/>
                    <a:gdLst>
                      <a:gd name="connsiteX0" fmla="*/ 8719 w 1017938"/>
                      <a:gd name="connsiteY0" fmla="*/ 37150 h 292322"/>
                      <a:gd name="connsiteX1" fmla="*/ 0 w 1017938"/>
                      <a:gd name="connsiteY1" fmla="*/ 96000 h 292322"/>
                      <a:gd name="connsiteX2" fmla="*/ 717103 w 1017938"/>
                      <a:gd name="connsiteY2" fmla="*/ 292168 h 292322"/>
                      <a:gd name="connsiteX3" fmla="*/ 1017894 w 1017938"/>
                      <a:gd name="connsiteY3" fmla="*/ 187545 h 292322"/>
                      <a:gd name="connsiteX4" fmla="*/ 566708 w 1017938"/>
                      <a:gd name="connsiteY4" fmla="*/ 96 h 292322"/>
                      <a:gd name="connsiteX5" fmla="*/ 8719 w 1017938"/>
                      <a:gd name="connsiteY5" fmla="*/ 37150 h 2923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2322">
                        <a:moveTo>
                          <a:pt x="8719" y="37150"/>
                        </a:moveTo>
                        <a:lnTo>
                          <a:pt x="0" y="96000"/>
                        </a:lnTo>
                        <a:cubicBezTo>
                          <a:pt x="0" y="96000"/>
                          <a:pt x="551450" y="298707"/>
                          <a:pt x="717103" y="292168"/>
                        </a:cubicBezTo>
                        <a:cubicBezTo>
                          <a:pt x="882756" y="285629"/>
                          <a:pt x="987379" y="272551"/>
                          <a:pt x="1017894" y="187545"/>
                        </a:cubicBezTo>
                        <a:cubicBezTo>
                          <a:pt x="1020074" y="141772"/>
                          <a:pt x="943786" y="-4264"/>
                          <a:pt x="566708" y="96"/>
                        </a:cubicBezTo>
                        <a:cubicBezTo>
                          <a:pt x="252839" y="13173"/>
                          <a:pt x="71928" y="21892"/>
                          <a:pt x="8719" y="3715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" name="Freihandform: Form 178">
                    <a:extLst>
                      <a:ext uri="{FF2B5EF4-FFF2-40B4-BE49-F238E27FC236}">
                        <a16:creationId xmlns:a16="http://schemas.microsoft.com/office/drawing/2014/main" id="{DE4D3DD3-4793-4592-BF14-09DD99844403}"/>
                      </a:ext>
                    </a:extLst>
                  </p:cNvPr>
                  <p:cNvSpPr/>
                  <p:nvPr/>
                </p:nvSpPr>
                <p:spPr>
                  <a:xfrm>
                    <a:off x="11600661" y="1229231"/>
                    <a:ext cx="309026" cy="1011355"/>
                  </a:xfrm>
                  <a:custGeom>
                    <a:avLst/>
                    <a:gdLst>
                      <a:gd name="connsiteX0" fmla="*/ 265508 w 309026"/>
                      <a:gd name="connsiteY0" fmla="*/ 527474 h 1011355"/>
                      <a:gd name="connsiteX1" fmla="*/ 75879 w 309026"/>
                      <a:gd name="connsiteY1" fmla="*/ 0 h 1011355"/>
                      <a:gd name="connsiteX2" fmla="*/ 17028 w 309026"/>
                      <a:gd name="connsiteY2" fmla="*/ 6539 h 1011355"/>
                      <a:gd name="connsiteX3" fmla="*/ 25747 w 309026"/>
                      <a:gd name="connsiteY3" fmla="*/ 749798 h 1011355"/>
                      <a:gd name="connsiteX4" fmla="*/ 208837 w 309026"/>
                      <a:gd name="connsiteY4" fmla="*/ 1011355 h 1011355"/>
                      <a:gd name="connsiteX5" fmla="*/ 265508 w 309026"/>
                      <a:gd name="connsiteY5" fmla="*/ 527474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265508" y="527474"/>
                        </a:moveTo>
                        <a:cubicBezTo>
                          <a:pt x="165244" y="228863"/>
                          <a:pt x="108574" y="56671"/>
                          <a:pt x="75879" y="0"/>
                        </a:cubicBezTo>
                        <a:lnTo>
                          <a:pt x="17028" y="6539"/>
                        </a:lnTo>
                        <a:cubicBezTo>
                          <a:pt x="17028" y="6539"/>
                          <a:pt x="-26564" y="592863"/>
                          <a:pt x="25747" y="749798"/>
                        </a:cubicBezTo>
                        <a:cubicBezTo>
                          <a:pt x="78059" y="906732"/>
                          <a:pt x="119472" y="1004816"/>
                          <a:pt x="208837" y="1011355"/>
                        </a:cubicBezTo>
                        <a:cubicBezTo>
                          <a:pt x="254610" y="1002637"/>
                          <a:pt x="372311" y="889295"/>
                          <a:pt x="265508" y="5274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" name="Freihandform: Form 179">
                    <a:extLst>
                      <a:ext uri="{FF2B5EF4-FFF2-40B4-BE49-F238E27FC236}">
                        <a16:creationId xmlns:a16="http://schemas.microsoft.com/office/drawing/2014/main" id="{BE44CA04-CCA3-43BC-8DDA-C9EC8A405608}"/>
                      </a:ext>
                    </a:extLst>
                  </p:cNvPr>
                  <p:cNvSpPr/>
                  <p:nvPr/>
                </p:nvSpPr>
                <p:spPr>
                  <a:xfrm>
                    <a:off x="11580683" y="1207046"/>
                    <a:ext cx="670938" cy="823422"/>
                  </a:xfrm>
                  <a:custGeom>
                    <a:avLst/>
                    <a:gdLst>
                      <a:gd name="connsiteX0" fmla="*/ 451186 w 670938"/>
                      <a:gd name="connsiteY0" fmla="*/ 366180 h 823422"/>
                      <a:gd name="connsiteX1" fmla="*/ 41413 w 670938"/>
                      <a:gd name="connsiteY1" fmla="*/ 0 h 823422"/>
                      <a:gd name="connsiteX2" fmla="*/ 0 w 670938"/>
                      <a:gd name="connsiteY2" fmla="*/ 34874 h 823422"/>
                      <a:gd name="connsiteX3" fmla="*/ 379258 w 670938"/>
                      <a:gd name="connsiteY3" fmla="*/ 673510 h 823422"/>
                      <a:gd name="connsiteX4" fmla="*/ 651714 w 670938"/>
                      <a:gd name="connsiteY4" fmla="*/ 813008 h 823422"/>
                      <a:gd name="connsiteX5" fmla="*/ 451186 w 670938"/>
                      <a:gd name="connsiteY5" fmla="*/ 366180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451186" y="366180"/>
                        </a:moveTo>
                        <a:cubicBezTo>
                          <a:pt x="224503" y="154755"/>
                          <a:pt x="93725" y="32695"/>
                          <a:pt x="41413" y="0"/>
                        </a:cubicBezTo>
                        <a:lnTo>
                          <a:pt x="0" y="34874"/>
                        </a:lnTo>
                        <a:cubicBezTo>
                          <a:pt x="0" y="34874"/>
                          <a:pt x="261557" y="562348"/>
                          <a:pt x="379258" y="673510"/>
                        </a:cubicBezTo>
                        <a:cubicBezTo>
                          <a:pt x="499139" y="784672"/>
                          <a:pt x="577606" y="850061"/>
                          <a:pt x="651714" y="813008"/>
                        </a:cubicBezTo>
                        <a:cubicBezTo>
                          <a:pt x="680049" y="782492"/>
                          <a:pt x="714923" y="629917"/>
                          <a:pt x="451186" y="36618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" name="Freihandform: Form 180">
                    <a:extLst>
                      <a:ext uri="{FF2B5EF4-FFF2-40B4-BE49-F238E27FC236}">
                        <a16:creationId xmlns:a16="http://schemas.microsoft.com/office/drawing/2014/main" id="{DB57E6D9-571E-4183-BB12-6B9FE137BFBA}"/>
                      </a:ext>
                    </a:extLst>
                  </p:cNvPr>
                  <p:cNvSpPr/>
                  <p:nvPr/>
                </p:nvSpPr>
                <p:spPr>
                  <a:xfrm>
                    <a:off x="10684134" y="1200498"/>
                    <a:ext cx="822081" cy="808800"/>
                  </a:xfrm>
                  <a:custGeom>
                    <a:avLst/>
                    <a:gdLst>
                      <a:gd name="connsiteX0" fmla="*/ 822081 w 822081"/>
                      <a:gd name="connsiteY0" fmla="*/ 41413 h 808800"/>
                      <a:gd name="connsiteX1" fmla="*/ 780668 w 822081"/>
                      <a:gd name="connsiteY1" fmla="*/ 0 h 808800"/>
                      <a:gd name="connsiteX2" fmla="*/ 135493 w 822081"/>
                      <a:gd name="connsiteY2" fmla="*/ 481701 h 808800"/>
                      <a:gd name="connsiteX3" fmla="*/ 17792 w 822081"/>
                      <a:gd name="connsiteY3" fmla="*/ 793391 h 808800"/>
                      <a:gd name="connsiteX4" fmla="*/ 477697 w 822081"/>
                      <a:gd name="connsiteY4" fmla="*/ 529654 h 808800"/>
                      <a:gd name="connsiteX5" fmla="*/ 822081 w 822081"/>
                      <a:gd name="connsiteY5" fmla="*/ 41413 h 808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08800">
                        <a:moveTo>
                          <a:pt x="822081" y="41413"/>
                        </a:moveTo>
                        <a:lnTo>
                          <a:pt x="780668" y="0"/>
                        </a:lnTo>
                        <a:cubicBezTo>
                          <a:pt x="780668" y="0"/>
                          <a:pt x="242296" y="340025"/>
                          <a:pt x="135493" y="481701"/>
                        </a:cubicBezTo>
                        <a:cubicBezTo>
                          <a:pt x="28691" y="623378"/>
                          <a:pt x="-32339" y="719283"/>
                          <a:pt x="17792" y="793391"/>
                        </a:cubicBezTo>
                        <a:cubicBezTo>
                          <a:pt x="54846" y="821726"/>
                          <a:pt x="224859" y="845702"/>
                          <a:pt x="477697" y="529654"/>
                        </a:cubicBezTo>
                        <a:cubicBezTo>
                          <a:pt x="676045" y="259378"/>
                          <a:pt x="791566" y="104623"/>
                          <a:pt x="822081" y="4141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" name="Freihandform: Form 181">
                    <a:extLst>
                      <a:ext uri="{FF2B5EF4-FFF2-40B4-BE49-F238E27FC236}">
                        <a16:creationId xmlns:a16="http://schemas.microsoft.com/office/drawing/2014/main" id="{62571F96-E4BC-41D1-A06A-93B1CC9B2320}"/>
                      </a:ext>
                    </a:extLst>
                  </p:cNvPr>
                  <p:cNvSpPr/>
                  <p:nvPr/>
                </p:nvSpPr>
                <p:spPr>
                  <a:xfrm>
                    <a:off x="11103490" y="1187844"/>
                    <a:ext cx="446476" cy="1112779"/>
                  </a:xfrm>
                  <a:custGeom>
                    <a:avLst/>
                    <a:gdLst>
                      <a:gd name="connsiteX0" fmla="*/ 443197 w 446476"/>
                      <a:gd name="connsiteY0" fmla="*/ 34874 h 1112779"/>
                      <a:gd name="connsiteX1" fmla="*/ 369089 w 446476"/>
                      <a:gd name="connsiteY1" fmla="*/ 0 h 1112779"/>
                      <a:gd name="connsiteX2" fmla="*/ 7268 w 446476"/>
                      <a:gd name="connsiteY2" fmla="*/ 723642 h 1112779"/>
                      <a:gd name="connsiteX3" fmla="*/ 96633 w 446476"/>
                      <a:gd name="connsiteY3" fmla="*/ 1107260 h 1112779"/>
                      <a:gd name="connsiteX4" fmla="*/ 408322 w 446476"/>
                      <a:gd name="connsiteY4" fmla="*/ 680049 h 1112779"/>
                      <a:gd name="connsiteX5" fmla="*/ 443197 w 446476"/>
                      <a:gd name="connsiteY5" fmla="*/ 34874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6476" h="1112779">
                        <a:moveTo>
                          <a:pt x="443197" y="34874"/>
                        </a:moveTo>
                        <a:lnTo>
                          <a:pt x="369089" y="0"/>
                        </a:lnTo>
                        <a:cubicBezTo>
                          <a:pt x="369089" y="0"/>
                          <a:pt x="22525" y="536193"/>
                          <a:pt x="7268" y="723642"/>
                        </a:cubicBezTo>
                        <a:cubicBezTo>
                          <a:pt x="-7990" y="913271"/>
                          <a:pt x="-7990" y="1035331"/>
                          <a:pt x="96633" y="1107260"/>
                        </a:cubicBezTo>
                        <a:cubicBezTo>
                          <a:pt x="155483" y="1129056"/>
                          <a:pt x="356011" y="1105080"/>
                          <a:pt x="408322" y="680049"/>
                        </a:cubicBezTo>
                        <a:cubicBezTo>
                          <a:pt x="436658" y="318228"/>
                          <a:pt x="454095" y="111162"/>
                          <a:pt x="443197" y="348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9" name="Freihandform: Form 182">
                    <a:extLst>
                      <a:ext uri="{FF2B5EF4-FFF2-40B4-BE49-F238E27FC236}">
                        <a16:creationId xmlns:a16="http://schemas.microsoft.com/office/drawing/2014/main" id="{6C36039F-A527-4390-A38A-89888EDEE14E}"/>
                      </a:ext>
                    </a:extLst>
                  </p:cNvPr>
                  <p:cNvSpPr/>
                  <p:nvPr/>
                </p:nvSpPr>
                <p:spPr>
                  <a:xfrm>
                    <a:off x="10396141" y="1131081"/>
                    <a:ext cx="1003874" cy="450498"/>
                  </a:xfrm>
                  <a:custGeom>
                    <a:avLst/>
                    <a:gdLst>
                      <a:gd name="connsiteX0" fmla="*/ 984257 w 1003874"/>
                      <a:gd name="connsiteY0" fmla="*/ 0 h 450498"/>
                      <a:gd name="connsiteX1" fmla="*/ 230100 w 1003874"/>
                      <a:gd name="connsiteY1" fmla="*/ 156934 h 450498"/>
                      <a:gd name="connsiteX2" fmla="*/ 1237 w 1003874"/>
                      <a:gd name="connsiteY2" fmla="*/ 387977 h 450498"/>
                      <a:gd name="connsiteX3" fmla="*/ 506915 w 1003874"/>
                      <a:gd name="connsiteY3" fmla="*/ 348743 h 450498"/>
                      <a:gd name="connsiteX4" fmla="*/ 1003874 w 1003874"/>
                      <a:gd name="connsiteY4" fmla="*/ 58850 h 450498"/>
                      <a:gd name="connsiteX5" fmla="*/ 984257 w 1003874"/>
                      <a:gd name="connsiteY5" fmla="*/ 0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984257" y="0"/>
                        </a:moveTo>
                        <a:cubicBezTo>
                          <a:pt x="984257" y="0"/>
                          <a:pt x="380496" y="74108"/>
                          <a:pt x="230100" y="156934"/>
                        </a:cubicBezTo>
                        <a:cubicBezTo>
                          <a:pt x="79705" y="239761"/>
                          <a:pt x="-11840" y="298611"/>
                          <a:pt x="1237" y="387977"/>
                        </a:cubicBezTo>
                        <a:cubicBezTo>
                          <a:pt x="20854" y="429390"/>
                          <a:pt x="160352" y="523115"/>
                          <a:pt x="506915" y="348743"/>
                        </a:cubicBezTo>
                        <a:cubicBezTo>
                          <a:pt x="792449" y="191809"/>
                          <a:pt x="953742" y="100264"/>
                          <a:pt x="1003874" y="58850"/>
                        </a:cubicBezTo>
                        <a:lnTo>
                          <a:pt x="984257" y="0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0" name="Freihandform: Form 183">
                    <a:extLst>
                      <a:ext uri="{FF2B5EF4-FFF2-40B4-BE49-F238E27FC236}">
                        <a16:creationId xmlns:a16="http://schemas.microsoft.com/office/drawing/2014/main" id="{5600DCFD-5CBD-4BC6-AE8F-2EA19A2BAB81}"/>
                      </a:ext>
                    </a:extLst>
                  </p:cNvPr>
                  <p:cNvSpPr/>
                  <p:nvPr/>
                </p:nvSpPr>
                <p:spPr>
                  <a:xfrm>
                    <a:off x="10585147" y="494585"/>
                    <a:ext cx="920658" cy="548241"/>
                  </a:xfrm>
                  <a:custGeom>
                    <a:avLst/>
                    <a:gdLst>
                      <a:gd name="connsiteX0" fmla="*/ 890144 w 920658"/>
                      <a:gd name="connsiteY0" fmla="*/ 548241 h 548241"/>
                      <a:gd name="connsiteX1" fmla="*/ 920659 w 920658"/>
                      <a:gd name="connsiteY1" fmla="*/ 495930 h 548241"/>
                      <a:gd name="connsiteX2" fmla="*/ 323436 w 920658"/>
                      <a:gd name="connsiteY2" fmla="*/ 53462 h 548241"/>
                      <a:gd name="connsiteX3" fmla="*/ 5208 w 920658"/>
                      <a:gd name="connsiteY3" fmla="*/ 40384 h 548241"/>
                      <a:gd name="connsiteX4" fmla="*/ 356131 w 920658"/>
                      <a:gd name="connsiteY4" fmla="*/ 380409 h 548241"/>
                      <a:gd name="connsiteX5" fmla="*/ 890144 w 920658"/>
                      <a:gd name="connsiteY5" fmla="*/ 548241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890144" y="548241"/>
                        </a:moveTo>
                        <a:lnTo>
                          <a:pt x="920659" y="495930"/>
                        </a:lnTo>
                        <a:cubicBezTo>
                          <a:pt x="920659" y="495930"/>
                          <a:pt x="480371" y="105773"/>
                          <a:pt x="323436" y="53462"/>
                        </a:cubicBezTo>
                        <a:cubicBezTo>
                          <a:pt x="166502" y="-1029"/>
                          <a:pt x="64059" y="-27185"/>
                          <a:pt x="5208" y="40384"/>
                        </a:cubicBezTo>
                        <a:cubicBezTo>
                          <a:pt x="-14409" y="81797"/>
                          <a:pt x="5208" y="245271"/>
                          <a:pt x="356131" y="380409"/>
                        </a:cubicBezTo>
                        <a:cubicBezTo>
                          <a:pt x="654742" y="482852"/>
                          <a:pt x="826934" y="541702"/>
                          <a:pt x="890144" y="54824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1" name="Freihandform: Form 184">
                    <a:extLst>
                      <a:ext uri="{FF2B5EF4-FFF2-40B4-BE49-F238E27FC236}">
                        <a16:creationId xmlns:a16="http://schemas.microsoft.com/office/drawing/2014/main" id="{844DE934-D438-4F0E-AFDE-1D39B8080785}"/>
                      </a:ext>
                    </a:extLst>
                  </p:cNvPr>
                  <p:cNvSpPr/>
                  <p:nvPr/>
                </p:nvSpPr>
                <p:spPr>
                  <a:xfrm>
                    <a:off x="10408443" y="881147"/>
                    <a:ext cx="1017938" cy="294502"/>
                  </a:xfrm>
                  <a:custGeom>
                    <a:avLst/>
                    <a:gdLst>
                      <a:gd name="connsiteX0" fmla="*/ 1009220 w 1017938"/>
                      <a:gd name="connsiteY0" fmla="*/ 255173 h 294502"/>
                      <a:gd name="connsiteX1" fmla="*/ 1017939 w 1017938"/>
                      <a:gd name="connsiteY1" fmla="*/ 196323 h 294502"/>
                      <a:gd name="connsiteX2" fmla="*/ 300836 w 1017938"/>
                      <a:gd name="connsiteY2" fmla="*/ 155 h 294502"/>
                      <a:gd name="connsiteX3" fmla="*/ 45 w 1017938"/>
                      <a:gd name="connsiteY3" fmla="*/ 106957 h 294502"/>
                      <a:gd name="connsiteX4" fmla="*/ 451231 w 1017938"/>
                      <a:gd name="connsiteY4" fmla="*/ 294407 h 294502"/>
                      <a:gd name="connsiteX5" fmla="*/ 1009220 w 1017938"/>
                      <a:gd name="connsiteY5" fmla="*/ 255173 h 2945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4502">
                        <a:moveTo>
                          <a:pt x="1009220" y="255173"/>
                        </a:moveTo>
                        <a:lnTo>
                          <a:pt x="1017939" y="196323"/>
                        </a:lnTo>
                        <a:cubicBezTo>
                          <a:pt x="1017939" y="196323"/>
                          <a:pt x="466489" y="-6384"/>
                          <a:pt x="300836" y="155"/>
                        </a:cubicBezTo>
                        <a:cubicBezTo>
                          <a:pt x="135183" y="8873"/>
                          <a:pt x="30560" y="19772"/>
                          <a:pt x="45" y="106957"/>
                        </a:cubicBezTo>
                        <a:cubicBezTo>
                          <a:pt x="-2135" y="152730"/>
                          <a:pt x="74153" y="298766"/>
                          <a:pt x="451231" y="294407"/>
                        </a:cubicBezTo>
                        <a:cubicBezTo>
                          <a:pt x="767280" y="279149"/>
                          <a:pt x="948190" y="272610"/>
                          <a:pt x="1009220" y="25517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2" name="Freihandform: Form 185">
                    <a:extLst>
                      <a:ext uri="{FF2B5EF4-FFF2-40B4-BE49-F238E27FC236}">
                        <a16:creationId xmlns:a16="http://schemas.microsoft.com/office/drawing/2014/main" id="{2DED94BC-8EDF-4385-ABFC-D226445C9C2B}"/>
                      </a:ext>
                    </a:extLst>
                  </p:cNvPr>
                  <p:cNvSpPr/>
                  <p:nvPr/>
                </p:nvSpPr>
                <p:spPr>
                  <a:xfrm>
                    <a:off x="11308288" y="22604"/>
                    <a:ext cx="309026" cy="1011355"/>
                  </a:xfrm>
                  <a:custGeom>
                    <a:avLst/>
                    <a:gdLst>
                      <a:gd name="connsiteX0" fmla="*/ 43518 w 309026"/>
                      <a:gd name="connsiteY0" fmla="*/ 483881 h 1011355"/>
                      <a:gd name="connsiteX1" fmla="*/ 233147 w 309026"/>
                      <a:gd name="connsiteY1" fmla="*/ 1011355 h 1011355"/>
                      <a:gd name="connsiteX2" fmla="*/ 291998 w 309026"/>
                      <a:gd name="connsiteY2" fmla="*/ 1004816 h 1011355"/>
                      <a:gd name="connsiteX3" fmla="*/ 283279 w 309026"/>
                      <a:gd name="connsiteY3" fmla="*/ 261557 h 1011355"/>
                      <a:gd name="connsiteX4" fmla="*/ 100189 w 309026"/>
                      <a:gd name="connsiteY4" fmla="*/ 0 h 1011355"/>
                      <a:gd name="connsiteX5" fmla="*/ 43518 w 309026"/>
                      <a:gd name="connsiteY5" fmla="*/ 483881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43518" y="483881"/>
                        </a:moveTo>
                        <a:cubicBezTo>
                          <a:pt x="143782" y="782493"/>
                          <a:pt x="200453" y="954684"/>
                          <a:pt x="233147" y="1011355"/>
                        </a:cubicBezTo>
                        <a:lnTo>
                          <a:pt x="291998" y="1004816"/>
                        </a:lnTo>
                        <a:cubicBezTo>
                          <a:pt x="291998" y="1004816"/>
                          <a:pt x="335591" y="418492"/>
                          <a:pt x="283279" y="261557"/>
                        </a:cubicBezTo>
                        <a:cubicBezTo>
                          <a:pt x="230968" y="104623"/>
                          <a:pt x="189554" y="6539"/>
                          <a:pt x="100189" y="0"/>
                        </a:cubicBezTo>
                        <a:cubicBezTo>
                          <a:pt x="54417" y="8719"/>
                          <a:pt x="-63284" y="122060"/>
                          <a:pt x="43518" y="48388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3" name="Freihandform: Form 186">
                    <a:extLst>
                      <a:ext uri="{FF2B5EF4-FFF2-40B4-BE49-F238E27FC236}">
                        <a16:creationId xmlns:a16="http://schemas.microsoft.com/office/drawing/2014/main" id="{64F3488A-BE3F-4D1E-8402-8269CC7BB134}"/>
                      </a:ext>
                    </a:extLst>
                  </p:cNvPr>
                  <p:cNvSpPr/>
                  <p:nvPr/>
                </p:nvSpPr>
                <p:spPr>
                  <a:xfrm>
                    <a:off x="10900924" y="231760"/>
                    <a:ext cx="670938" cy="823422"/>
                  </a:xfrm>
                  <a:custGeom>
                    <a:avLst/>
                    <a:gdLst>
                      <a:gd name="connsiteX0" fmla="*/ 219752 w 670938"/>
                      <a:gd name="connsiteY0" fmla="*/ 457242 h 823422"/>
                      <a:gd name="connsiteX1" fmla="*/ 629525 w 670938"/>
                      <a:gd name="connsiteY1" fmla="*/ 823423 h 823422"/>
                      <a:gd name="connsiteX2" fmla="*/ 670939 w 670938"/>
                      <a:gd name="connsiteY2" fmla="*/ 788548 h 823422"/>
                      <a:gd name="connsiteX3" fmla="*/ 291680 w 670938"/>
                      <a:gd name="connsiteY3" fmla="*/ 149912 h 823422"/>
                      <a:gd name="connsiteX4" fmla="*/ 19225 w 670938"/>
                      <a:gd name="connsiteY4" fmla="*/ 10415 h 823422"/>
                      <a:gd name="connsiteX5" fmla="*/ 219752 w 670938"/>
                      <a:gd name="connsiteY5" fmla="*/ 457242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219752" y="457242"/>
                        </a:moveTo>
                        <a:cubicBezTo>
                          <a:pt x="446435" y="668668"/>
                          <a:pt x="577214" y="790728"/>
                          <a:pt x="629525" y="823423"/>
                        </a:cubicBezTo>
                        <a:lnTo>
                          <a:pt x="670939" y="788548"/>
                        </a:lnTo>
                        <a:cubicBezTo>
                          <a:pt x="670939" y="788548"/>
                          <a:pt x="409381" y="261074"/>
                          <a:pt x="291680" y="149912"/>
                        </a:cubicBezTo>
                        <a:cubicBezTo>
                          <a:pt x="171800" y="38750"/>
                          <a:pt x="93333" y="-26639"/>
                          <a:pt x="19225" y="10415"/>
                        </a:cubicBezTo>
                        <a:cubicBezTo>
                          <a:pt x="-9111" y="40930"/>
                          <a:pt x="-43985" y="195685"/>
                          <a:pt x="219752" y="457242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104" name="Grafik 5">
                    <a:extLst>
                      <a:ext uri="{FF2B5EF4-FFF2-40B4-BE49-F238E27FC236}">
                        <a16:creationId xmlns:a16="http://schemas.microsoft.com/office/drawing/2014/main" id="{42D79C2B-89EB-4AC1-ADA8-56409D8A8A70}"/>
                      </a:ext>
                    </a:extLst>
                  </p:cNvPr>
                  <p:cNvGrpSpPr/>
                  <p:nvPr/>
                </p:nvGrpSpPr>
                <p:grpSpPr>
                  <a:xfrm>
                    <a:off x="10468669" y="91979"/>
                    <a:ext cx="2134946" cy="2159439"/>
                    <a:chOff x="10468669" y="91979"/>
                    <a:chExt cx="2134946" cy="2159439"/>
                  </a:xfrm>
                  <a:solidFill>
                    <a:srgbClr val="FFFFFF"/>
                  </a:solidFill>
                </p:grpSpPr>
                <p:sp>
                  <p:nvSpPr>
                    <p:cNvPr id="105" name="Freihandform: Form 188">
                      <a:extLst>
                        <a:ext uri="{FF2B5EF4-FFF2-40B4-BE49-F238E27FC236}">
                          <a16:creationId xmlns:a16="http://schemas.microsoft.com/office/drawing/2014/main" id="{08756933-ED05-4D77-A661-3E8B07A5B12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8669" y="728333"/>
                      <a:ext cx="1020510" cy="415311"/>
                    </a:xfrm>
                    <a:custGeom>
                      <a:avLst/>
                      <a:gdLst>
                        <a:gd name="connsiteX0" fmla="*/ 1005253 w 1020510"/>
                        <a:gd name="connsiteY0" fmla="*/ 370222 h 370774"/>
                        <a:gd name="connsiteX1" fmla="*/ 1020511 w 1020510"/>
                        <a:gd name="connsiteY1" fmla="*/ 315731 h 370774"/>
                        <a:gd name="connsiteX2" fmla="*/ 314306 w 1020510"/>
                        <a:gd name="connsiteY2" fmla="*/ 12760 h 370774"/>
                        <a:gd name="connsiteX3" fmla="*/ 437 w 1020510"/>
                        <a:gd name="connsiteY3" fmla="*/ 65072 h 370774"/>
                        <a:gd name="connsiteX4" fmla="*/ 438546 w 1020510"/>
                        <a:gd name="connsiteY4" fmla="*/ 317911 h 370774"/>
                        <a:gd name="connsiteX5" fmla="*/ 1005253 w 1020510"/>
                        <a:gd name="connsiteY5" fmla="*/ 370222 h 3707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0774">
                          <a:moveTo>
                            <a:pt x="1005253" y="370222"/>
                          </a:moveTo>
                          <a:lnTo>
                            <a:pt x="1020511" y="315731"/>
                          </a:lnTo>
                          <a:cubicBezTo>
                            <a:pt x="1020511" y="315731"/>
                            <a:pt x="482138" y="32377"/>
                            <a:pt x="314306" y="12760"/>
                          </a:cubicBezTo>
                          <a:cubicBezTo>
                            <a:pt x="146473" y="-6856"/>
                            <a:pt x="39671" y="-13395"/>
                            <a:pt x="437" y="65072"/>
                          </a:cubicBezTo>
                          <a:cubicBezTo>
                            <a:pt x="-6102" y="108665"/>
                            <a:pt x="57108" y="261240"/>
                            <a:pt x="438546" y="317911"/>
                          </a:cubicBezTo>
                          <a:cubicBezTo>
                            <a:pt x="756774" y="352785"/>
                            <a:pt x="939864" y="374581"/>
                            <a:pt x="1005253" y="37022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6" name="Freihandform: Form 189">
                      <a:extLst>
                        <a:ext uri="{FF2B5EF4-FFF2-40B4-BE49-F238E27FC236}">
                          <a16:creationId xmlns:a16="http://schemas.microsoft.com/office/drawing/2014/main" id="{529517DB-6D97-4D7C-842F-6817FF8516D0}"/>
                        </a:ext>
                      </a:extLst>
                    </p:cNvPr>
                    <p:cNvSpPr/>
                    <p:nvPr/>
                  </p:nvSpPr>
                  <p:spPr>
                    <a:xfrm rot="184551">
                      <a:off x="10473608" y="1098449"/>
                      <a:ext cx="1052768" cy="433246"/>
                    </a:xfrm>
                    <a:custGeom>
                      <a:avLst/>
                      <a:gdLst>
                        <a:gd name="connsiteX0" fmla="*/ 1052768 w 1052768"/>
                        <a:gd name="connsiteY0" fmla="*/ 84495 h 433246"/>
                        <a:gd name="connsiteX1" fmla="*/ 1046230 w 1052768"/>
                        <a:gd name="connsiteY1" fmla="*/ 6028 h 433246"/>
                        <a:gd name="connsiteX2" fmla="*/ 274635 w 1052768"/>
                        <a:gd name="connsiteY2" fmla="*/ 51800 h 433246"/>
                        <a:gd name="connsiteX3" fmla="*/ 0 w 1052768"/>
                        <a:gd name="connsiteY3" fmla="*/ 308998 h 433246"/>
                        <a:gd name="connsiteX4" fmla="*/ 503498 w 1052768"/>
                        <a:gd name="connsiteY4" fmla="*/ 363489 h 433246"/>
                        <a:gd name="connsiteX5" fmla="*/ 1052768 w 1052768"/>
                        <a:gd name="connsiteY5" fmla="*/ 84495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2768" h="433246">
                          <a:moveTo>
                            <a:pt x="1052768" y="84495"/>
                          </a:moveTo>
                          <a:lnTo>
                            <a:pt x="1046230" y="6028"/>
                          </a:lnTo>
                          <a:cubicBezTo>
                            <a:pt x="1046230" y="6028"/>
                            <a:pt x="438109" y="-24487"/>
                            <a:pt x="274635" y="51800"/>
                          </a:cubicBezTo>
                          <a:cubicBezTo>
                            <a:pt x="111162" y="130267"/>
                            <a:pt x="8719" y="186938"/>
                            <a:pt x="0" y="308998"/>
                          </a:cubicBezTo>
                          <a:cubicBezTo>
                            <a:pt x="10898" y="367849"/>
                            <a:pt x="126419" y="522603"/>
                            <a:pt x="503498" y="363489"/>
                          </a:cubicBezTo>
                          <a:cubicBezTo>
                            <a:pt x="815187" y="215274"/>
                            <a:pt x="993918" y="130267"/>
                            <a:pt x="1052768" y="84495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7" name="Freihandform: Form 190">
                      <a:extLst>
                        <a:ext uri="{FF2B5EF4-FFF2-40B4-BE49-F238E27FC236}">
                          <a16:creationId xmlns:a16="http://schemas.microsoft.com/office/drawing/2014/main" id="{58853C34-E1E3-4216-BEDB-2DB5C90A55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9290" y="383058"/>
                      <a:ext cx="800989" cy="693531"/>
                    </a:xfrm>
                    <a:custGeom>
                      <a:avLst/>
                      <a:gdLst>
                        <a:gd name="connsiteX0" fmla="*/ 800989 w 800989"/>
                        <a:gd name="connsiteY0" fmla="*/ 649939 h 693531"/>
                        <a:gd name="connsiteX1" fmla="*/ 312749 w 800989"/>
                        <a:gd name="connsiteY1" fmla="*/ 100668 h 693531"/>
                        <a:gd name="connsiteX2" fmla="*/ 11958 w 800989"/>
                        <a:gd name="connsiteY2" fmla="*/ 22201 h 693531"/>
                        <a:gd name="connsiteX3" fmla="*/ 286593 w 800989"/>
                        <a:gd name="connsiteY3" fmla="*/ 421076 h 693531"/>
                        <a:gd name="connsiteX4" fmla="*/ 763935 w 800989"/>
                        <a:gd name="connsiteY4" fmla="*/ 693532 h 693531"/>
                        <a:gd name="connsiteX5" fmla="*/ 800989 w 800989"/>
                        <a:gd name="connsiteY5" fmla="*/ 649939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800989" y="649939"/>
                          </a:moveTo>
                          <a:cubicBezTo>
                            <a:pt x="800989" y="649939"/>
                            <a:pt x="452246" y="185674"/>
                            <a:pt x="312749" y="100668"/>
                          </a:cubicBezTo>
                          <a:cubicBezTo>
                            <a:pt x="173252" y="15662"/>
                            <a:pt x="81706" y="-30111"/>
                            <a:pt x="11958" y="22201"/>
                          </a:cubicBezTo>
                          <a:cubicBezTo>
                            <a:pt x="-14198" y="59255"/>
                            <a:pt x="-25096" y="218369"/>
                            <a:pt x="286593" y="421076"/>
                          </a:cubicBezTo>
                          <a:cubicBezTo>
                            <a:pt x="552510" y="580190"/>
                            <a:pt x="705085" y="673915"/>
                            <a:pt x="763935" y="693532"/>
                          </a:cubicBezTo>
                          <a:lnTo>
                            <a:pt x="800989" y="64993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8" name="Freihandform: Form 191">
                      <a:extLst>
                        <a:ext uri="{FF2B5EF4-FFF2-40B4-BE49-F238E27FC236}">
                          <a16:creationId xmlns:a16="http://schemas.microsoft.com/office/drawing/2014/main" id="{51C90DF5-0D64-4C06-A45A-06407B68F05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0345" y="91979"/>
                      <a:ext cx="304507" cy="974301"/>
                    </a:xfrm>
                    <a:custGeom>
                      <a:avLst/>
                      <a:gdLst>
                        <a:gd name="connsiteX0" fmla="*/ 132060 w 274679"/>
                        <a:gd name="connsiteY0" fmla="*/ 974301 h 974301"/>
                        <a:gd name="connsiteX1" fmla="*/ 188730 w 274679"/>
                        <a:gd name="connsiteY1" fmla="*/ 974301 h 974301"/>
                        <a:gd name="connsiteX2" fmla="*/ 269377 w 274679"/>
                        <a:gd name="connsiteY2" fmla="*/ 270276 h 974301"/>
                        <a:gd name="connsiteX3" fmla="*/ 127700 w 274679"/>
                        <a:gd name="connsiteY3" fmla="*/ 0 h 974301"/>
                        <a:gd name="connsiteX4" fmla="*/ 14359 w 274679"/>
                        <a:gd name="connsiteY4" fmla="*/ 451186 h 974301"/>
                        <a:gd name="connsiteX5" fmla="*/ 132060 w 274679"/>
                        <a:gd name="connsiteY5" fmla="*/ 974301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32060" y="974301"/>
                          </a:moveTo>
                          <a:lnTo>
                            <a:pt x="188730" y="974301"/>
                          </a:lnTo>
                          <a:cubicBezTo>
                            <a:pt x="188730" y="974301"/>
                            <a:pt x="299892" y="425031"/>
                            <a:pt x="269377" y="270276"/>
                          </a:cubicBezTo>
                          <a:cubicBezTo>
                            <a:pt x="238862" y="115521"/>
                            <a:pt x="212707" y="17437"/>
                            <a:pt x="127700" y="0"/>
                          </a:cubicBezTo>
                          <a:cubicBezTo>
                            <a:pt x="84107" y="4359"/>
                            <a:pt x="-42312" y="95904"/>
                            <a:pt x="14359" y="451186"/>
                          </a:cubicBezTo>
                          <a:cubicBezTo>
                            <a:pt x="75389" y="749798"/>
                            <a:pt x="108084" y="917631"/>
                            <a:pt x="132060" y="974301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9" name="Freihandform: Form 192">
                      <a:extLst>
                        <a:ext uri="{FF2B5EF4-FFF2-40B4-BE49-F238E27FC236}">
                          <a16:creationId xmlns:a16="http://schemas.microsoft.com/office/drawing/2014/main" id="{5E96680D-69BC-4EEA-A7E2-4B58F29BA5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71041" y="186511"/>
                      <a:ext cx="462825" cy="908535"/>
                    </a:xfrm>
                    <a:custGeom>
                      <a:avLst/>
                      <a:gdLst>
                        <a:gd name="connsiteX0" fmla="*/ 410514 w 462825"/>
                        <a:gd name="connsiteY0" fmla="*/ 908536 h 908535"/>
                        <a:gd name="connsiteX1" fmla="*/ 462826 w 462825"/>
                        <a:gd name="connsiteY1" fmla="*/ 888919 h 908535"/>
                        <a:gd name="connsiteX2" fmla="*/ 281915 w 462825"/>
                        <a:gd name="connsiteY2" fmla="*/ 202331 h 908535"/>
                        <a:gd name="connsiteX3" fmla="*/ 53052 w 462825"/>
                        <a:gd name="connsiteY3" fmla="*/ 1803 h 908535"/>
                        <a:gd name="connsiteX4" fmla="*/ 114082 w 462825"/>
                        <a:gd name="connsiteY4" fmla="*/ 463888 h 908535"/>
                        <a:gd name="connsiteX5" fmla="*/ 410514 w 462825"/>
                        <a:gd name="connsiteY5" fmla="*/ 908536 h 9085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8535">
                          <a:moveTo>
                            <a:pt x="410514" y="908536"/>
                          </a:moveTo>
                          <a:lnTo>
                            <a:pt x="462826" y="888919"/>
                          </a:lnTo>
                          <a:cubicBezTo>
                            <a:pt x="462826" y="888919"/>
                            <a:pt x="366921" y="335289"/>
                            <a:pt x="281915" y="202331"/>
                          </a:cubicBezTo>
                          <a:cubicBezTo>
                            <a:pt x="196909" y="69372"/>
                            <a:pt x="138059" y="-13454"/>
                            <a:pt x="53052" y="1803"/>
                          </a:cubicBezTo>
                          <a:cubicBezTo>
                            <a:pt x="13819" y="21420"/>
                            <a:pt x="-69008" y="154378"/>
                            <a:pt x="114082" y="463888"/>
                          </a:cubicBezTo>
                          <a:cubicBezTo>
                            <a:pt x="275376" y="718906"/>
                            <a:pt x="366921" y="864943"/>
                            <a:pt x="410514" y="90853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0" name="Freihandform: Form 193">
                      <a:extLst>
                        <a:ext uri="{FF2B5EF4-FFF2-40B4-BE49-F238E27FC236}">
                          <a16:creationId xmlns:a16="http://schemas.microsoft.com/office/drawing/2014/main" id="{333C9023-6C78-4727-9793-E72F8DAF01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2098" y="467391"/>
                      <a:ext cx="784672" cy="662868"/>
                    </a:xfrm>
                    <a:custGeom>
                      <a:avLst/>
                      <a:gdLst>
                        <a:gd name="connsiteX0" fmla="*/ 344384 w 784672"/>
                        <a:gd name="connsiteY0" fmla="*/ 209502 h 662868"/>
                        <a:gd name="connsiteX1" fmla="*/ 0 w 784672"/>
                        <a:gd name="connsiteY1" fmla="*/ 617096 h 662868"/>
                        <a:gd name="connsiteX2" fmla="*/ 34874 w 784672"/>
                        <a:gd name="connsiteY2" fmla="*/ 662868 h 662868"/>
                        <a:gd name="connsiteX3" fmla="*/ 645175 w 784672"/>
                        <a:gd name="connsiteY3" fmla="*/ 301047 h 662868"/>
                        <a:gd name="connsiteX4" fmla="*/ 773774 w 784672"/>
                        <a:gd name="connsiteY4" fmla="*/ 26412 h 662868"/>
                        <a:gd name="connsiteX5" fmla="*/ 344384 w 784672"/>
                        <a:gd name="connsiteY5" fmla="*/ 209502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344384" y="209502"/>
                          </a:moveTo>
                          <a:cubicBezTo>
                            <a:pt x="146036" y="436185"/>
                            <a:pt x="30515" y="564784"/>
                            <a:pt x="0" y="617096"/>
                          </a:cubicBezTo>
                          <a:lnTo>
                            <a:pt x="34874" y="662868"/>
                          </a:lnTo>
                          <a:cubicBezTo>
                            <a:pt x="34874" y="662868"/>
                            <a:pt x="540552" y="418748"/>
                            <a:pt x="645175" y="301047"/>
                          </a:cubicBezTo>
                          <a:cubicBezTo>
                            <a:pt x="749798" y="183346"/>
                            <a:pt x="810828" y="102699"/>
                            <a:pt x="773774" y="26412"/>
                          </a:cubicBezTo>
                          <a:cubicBezTo>
                            <a:pt x="741079" y="-8463"/>
                            <a:pt x="590684" y="-52055"/>
                            <a:pt x="344384" y="20950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1" name="Freihandform: Form 194">
                      <a:extLst>
                        <a:ext uri="{FF2B5EF4-FFF2-40B4-BE49-F238E27FC236}">
                          <a16:creationId xmlns:a16="http://schemas.microsoft.com/office/drawing/2014/main" id="{BB7CCD03-3A5F-42F7-B26F-3B4324EDB21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1862" y="211652"/>
                      <a:ext cx="424485" cy="912068"/>
                    </a:xfrm>
                    <a:custGeom>
                      <a:avLst/>
                      <a:gdLst>
                        <a:gd name="connsiteX0" fmla="*/ 106803 w 424485"/>
                        <a:gd name="connsiteY0" fmla="*/ 380235 h 912068"/>
                        <a:gd name="connsiteX1" fmla="*/ 0 w 424485"/>
                        <a:gd name="connsiteY1" fmla="*/ 894631 h 912068"/>
                        <a:gd name="connsiteX2" fmla="*/ 47952 w 424485"/>
                        <a:gd name="connsiteY2" fmla="*/ 912069 h 912068"/>
                        <a:gd name="connsiteX3" fmla="*/ 394516 w 424485"/>
                        <a:gd name="connsiteY3" fmla="*/ 293049 h 912068"/>
                        <a:gd name="connsiteX4" fmla="*/ 379258 w 424485"/>
                        <a:gd name="connsiteY4" fmla="*/ 977 h 912068"/>
                        <a:gd name="connsiteX5" fmla="*/ 106803 w 424485"/>
                        <a:gd name="connsiteY5" fmla="*/ 380235 h 9120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68">
                          <a:moveTo>
                            <a:pt x="106803" y="380235"/>
                          </a:moveTo>
                          <a:cubicBezTo>
                            <a:pt x="41413" y="670128"/>
                            <a:pt x="2180" y="835781"/>
                            <a:pt x="0" y="894631"/>
                          </a:cubicBezTo>
                          <a:lnTo>
                            <a:pt x="47952" y="912069"/>
                          </a:lnTo>
                          <a:cubicBezTo>
                            <a:pt x="47952" y="912069"/>
                            <a:pt x="359641" y="445625"/>
                            <a:pt x="394516" y="293049"/>
                          </a:cubicBezTo>
                          <a:cubicBezTo>
                            <a:pt x="429390" y="142654"/>
                            <a:pt x="444647" y="44570"/>
                            <a:pt x="379258" y="977"/>
                          </a:cubicBezTo>
                          <a:cubicBezTo>
                            <a:pt x="342204" y="-7742"/>
                            <a:pt x="198348" y="35851"/>
                            <a:pt x="106803" y="380235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2" name="Freihandform: Form 195">
                      <a:extLst>
                        <a:ext uri="{FF2B5EF4-FFF2-40B4-BE49-F238E27FC236}">
                          <a16:creationId xmlns:a16="http://schemas.microsoft.com/office/drawing/2014/main" id="{14E7A1CD-8C2E-4299-85AD-89FC93C40F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83105" y="1175700"/>
                      <a:ext cx="1020510" cy="371374"/>
                    </a:xfrm>
                    <a:custGeom>
                      <a:avLst/>
                      <a:gdLst>
                        <a:gd name="connsiteX0" fmla="*/ 15258 w 1020510"/>
                        <a:gd name="connsiteY0" fmla="*/ 1153 h 371374"/>
                        <a:gd name="connsiteX1" fmla="*/ 0 w 1020510"/>
                        <a:gd name="connsiteY1" fmla="*/ 55644 h 371374"/>
                        <a:gd name="connsiteX2" fmla="*/ 706205 w 1020510"/>
                        <a:gd name="connsiteY2" fmla="*/ 358615 h 371374"/>
                        <a:gd name="connsiteX3" fmla="*/ 1020074 w 1020510"/>
                        <a:gd name="connsiteY3" fmla="*/ 306303 h 371374"/>
                        <a:gd name="connsiteX4" fmla="*/ 581965 w 1020510"/>
                        <a:gd name="connsiteY4" fmla="*/ 53464 h 371374"/>
                        <a:gd name="connsiteX5" fmla="*/ 15258 w 1020510"/>
                        <a:gd name="connsiteY5" fmla="*/ 1153 h 3713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1374">
                          <a:moveTo>
                            <a:pt x="15258" y="1153"/>
                          </a:moveTo>
                          <a:lnTo>
                            <a:pt x="0" y="55644"/>
                          </a:lnTo>
                          <a:cubicBezTo>
                            <a:pt x="0" y="55644"/>
                            <a:pt x="538372" y="338998"/>
                            <a:pt x="706205" y="358615"/>
                          </a:cubicBezTo>
                          <a:cubicBezTo>
                            <a:pt x="874038" y="378231"/>
                            <a:pt x="980840" y="384770"/>
                            <a:pt x="1020074" y="306303"/>
                          </a:cubicBezTo>
                          <a:cubicBezTo>
                            <a:pt x="1026613" y="262710"/>
                            <a:pt x="963403" y="110135"/>
                            <a:pt x="581965" y="53464"/>
                          </a:cubicBezTo>
                          <a:cubicBezTo>
                            <a:pt x="263737" y="16410"/>
                            <a:pt x="80647" y="-5386"/>
                            <a:pt x="15258" y="115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3" name="Freihandform: Form 196">
                      <a:extLst>
                        <a:ext uri="{FF2B5EF4-FFF2-40B4-BE49-F238E27FC236}">
                          <a16:creationId xmlns:a16="http://schemas.microsoft.com/office/drawing/2014/main" id="{853F5270-C796-4F07-91AD-FEBEE80E3C1B}"/>
                        </a:ext>
                      </a:extLst>
                    </p:cNvPr>
                    <p:cNvSpPr/>
                    <p:nvPr/>
                  </p:nvSpPr>
                  <p:spPr>
                    <a:xfrm rot="173298">
                      <a:off x="11535888" y="876439"/>
                      <a:ext cx="1050588" cy="331192"/>
                    </a:xfrm>
                    <a:custGeom>
                      <a:avLst/>
                      <a:gdLst>
                        <a:gd name="connsiteX0" fmla="*/ 0 w 1050588"/>
                        <a:gd name="connsiteY0" fmla="*/ 348751 h 433246"/>
                        <a:gd name="connsiteX1" fmla="*/ 6539 w 1050588"/>
                        <a:gd name="connsiteY1" fmla="*/ 427218 h 433246"/>
                        <a:gd name="connsiteX2" fmla="*/ 778133 w 1050588"/>
                        <a:gd name="connsiteY2" fmla="*/ 381446 h 433246"/>
                        <a:gd name="connsiteX3" fmla="*/ 1050589 w 1050588"/>
                        <a:gd name="connsiteY3" fmla="*/ 124248 h 433246"/>
                        <a:gd name="connsiteX4" fmla="*/ 547091 w 1050588"/>
                        <a:gd name="connsiteY4" fmla="*/ 69757 h 433246"/>
                        <a:gd name="connsiteX5" fmla="*/ 0 w 1050588"/>
                        <a:gd name="connsiteY5" fmla="*/ 348751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0588" h="433246">
                          <a:moveTo>
                            <a:pt x="0" y="348751"/>
                          </a:moveTo>
                          <a:lnTo>
                            <a:pt x="6539" y="427218"/>
                          </a:lnTo>
                          <a:cubicBezTo>
                            <a:pt x="6539" y="427218"/>
                            <a:pt x="614660" y="457733"/>
                            <a:pt x="778133" y="381446"/>
                          </a:cubicBezTo>
                          <a:cubicBezTo>
                            <a:pt x="941607" y="302979"/>
                            <a:pt x="1044050" y="246308"/>
                            <a:pt x="1050589" y="124248"/>
                          </a:cubicBezTo>
                          <a:cubicBezTo>
                            <a:pt x="1039691" y="65397"/>
                            <a:pt x="924169" y="-89357"/>
                            <a:pt x="547091" y="69757"/>
                          </a:cubicBezTo>
                          <a:cubicBezTo>
                            <a:pt x="235402" y="217972"/>
                            <a:pt x="56671" y="300799"/>
                            <a:pt x="0" y="3487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4" name="Freihandform: Form 197">
                      <a:extLst>
                        <a:ext uri="{FF2B5EF4-FFF2-40B4-BE49-F238E27FC236}">
                          <a16:creationId xmlns:a16="http://schemas.microsoft.com/office/drawing/2014/main" id="{6E308D66-821D-4ED1-8473-F5FF95874A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56950" y="1233524"/>
                      <a:ext cx="800989" cy="693531"/>
                    </a:xfrm>
                    <a:custGeom>
                      <a:avLst/>
                      <a:gdLst>
                        <a:gd name="connsiteX0" fmla="*/ 0 w 800989"/>
                        <a:gd name="connsiteY0" fmla="*/ 43593 h 693531"/>
                        <a:gd name="connsiteX1" fmla="*/ 488240 w 800989"/>
                        <a:gd name="connsiteY1" fmla="*/ 592863 h 693531"/>
                        <a:gd name="connsiteX2" fmla="*/ 789032 w 800989"/>
                        <a:gd name="connsiteY2" fmla="*/ 671331 h 693531"/>
                        <a:gd name="connsiteX3" fmla="*/ 514396 w 800989"/>
                        <a:gd name="connsiteY3" fmla="*/ 272456 h 693531"/>
                        <a:gd name="connsiteX4" fmla="*/ 37054 w 800989"/>
                        <a:gd name="connsiteY4" fmla="*/ 0 h 693531"/>
                        <a:gd name="connsiteX5" fmla="*/ 0 w 800989"/>
                        <a:gd name="connsiteY5" fmla="*/ 43593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0" y="43593"/>
                          </a:moveTo>
                          <a:cubicBezTo>
                            <a:pt x="0" y="43593"/>
                            <a:pt x="348743" y="507857"/>
                            <a:pt x="488240" y="592863"/>
                          </a:cubicBezTo>
                          <a:cubicBezTo>
                            <a:pt x="627738" y="677870"/>
                            <a:pt x="719283" y="723642"/>
                            <a:pt x="789032" y="671331"/>
                          </a:cubicBezTo>
                          <a:cubicBezTo>
                            <a:pt x="815187" y="634277"/>
                            <a:pt x="826085" y="475163"/>
                            <a:pt x="514396" y="272456"/>
                          </a:cubicBezTo>
                          <a:cubicBezTo>
                            <a:pt x="248480" y="113342"/>
                            <a:pt x="95904" y="21796"/>
                            <a:pt x="37054" y="0"/>
                          </a:cubicBezTo>
                          <a:lnTo>
                            <a:pt x="0" y="4359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5" name="Freihandform: Form 198">
                      <a:extLst>
                        <a:ext uri="{FF2B5EF4-FFF2-40B4-BE49-F238E27FC236}">
                          <a16:creationId xmlns:a16="http://schemas.microsoft.com/office/drawing/2014/main" id="{2F06BB4A-E72F-4FBD-96E2-6B172ECA03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5096" y="1277117"/>
                      <a:ext cx="274679" cy="974301"/>
                    </a:xfrm>
                    <a:custGeom>
                      <a:avLst/>
                      <a:gdLst>
                        <a:gd name="connsiteX0" fmla="*/ 142620 w 274679"/>
                        <a:gd name="connsiteY0" fmla="*/ 0 h 974301"/>
                        <a:gd name="connsiteX1" fmla="*/ 85949 w 274679"/>
                        <a:gd name="connsiteY1" fmla="*/ 0 h 974301"/>
                        <a:gd name="connsiteX2" fmla="*/ 5302 w 274679"/>
                        <a:gd name="connsiteY2" fmla="*/ 704025 h 974301"/>
                        <a:gd name="connsiteX3" fmla="*/ 146979 w 274679"/>
                        <a:gd name="connsiteY3" fmla="*/ 974301 h 974301"/>
                        <a:gd name="connsiteX4" fmla="*/ 260321 w 274679"/>
                        <a:gd name="connsiteY4" fmla="*/ 523115 h 974301"/>
                        <a:gd name="connsiteX5" fmla="*/ 142620 w 274679"/>
                        <a:gd name="connsiteY5" fmla="*/ 0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42620" y="0"/>
                          </a:moveTo>
                          <a:lnTo>
                            <a:pt x="85949" y="0"/>
                          </a:lnTo>
                          <a:cubicBezTo>
                            <a:pt x="85949" y="0"/>
                            <a:pt x="-25213" y="549270"/>
                            <a:pt x="5302" y="704025"/>
                          </a:cubicBezTo>
                          <a:cubicBezTo>
                            <a:pt x="35817" y="858780"/>
                            <a:pt x="61973" y="956864"/>
                            <a:pt x="146979" y="974301"/>
                          </a:cubicBezTo>
                          <a:cubicBezTo>
                            <a:pt x="190572" y="969942"/>
                            <a:pt x="316991" y="878397"/>
                            <a:pt x="260321" y="523115"/>
                          </a:cubicBezTo>
                          <a:cubicBezTo>
                            <a:pt x="201470" y="226683"/>
                            <a:pt x="166596" y="56671"/>
                            <a:pt x="142620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6" name="Freihandform: Form 199">
                      <a:extLst>
                        <a:ext uri="{FF2B5EF4-FFF2-40B4-BE49-F238E27FC236}">
                          <a16:creationId xmlns:a16="http://schemas.microsoft.com/office/drawing/2014/main" id="{B1A0EA27-121B-433E-A4CF-AAD69268115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22524" y="1256269"/>
                      <a:ext cx="462825" cy="906861"/>
                    </a:xfrm>
                    <a:custGeom>
                      <a:avLst/>
                      <a:gdLst>
                        <a:gd name="connsiteX0" fmla="*/ 52311 w 462825"/>
                        <a:gd name="connsiteY0" fmla="*/ 0 h 906861"/>
                        <a:gd name="connsiteX1" fmla="*/ 0 w 462825"/>
                        <a:gd name="connsiteY1" fmla="*/ 19617 h 906861"/>
                        <a:gd name="connsiteX2" fmla="*/ 180911 w 462825"/>
                        <a:gd name="connsiteY2" fmla="*/ 706205 h 906861"/>
                        <a:gd name="connsiteX3" fmla="*/ 409773 w 462825"/>
                        <a:gd name="connsiteY3" fmla="*/ 904553 h 906861"/>
                        <a:gd name="connsiteX4" fmla="*/ 348743 w 462825"/>
                        <a:gd name="connsiteY4" fmla="*/ 442468 h 906861"/>
                        <a:gd name="connsiteX5" fmla="*/ 52311 w 462825"/>
                        <a:gd name="connsiteY5" fmla="*/ 0 h 90686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6861">
                          <a:moveTo>
                            <a:pt x="52311" y="0"/>
                          </a:moveTo>
                          <a:lnTo>
                            <a:pt x="0" y="19617"/>
                          </a:lnTo>
                          <a:cubicBezTo>
                            <a:pt x="0" y="19617"/>
                            <a:pt x="95904" y="573247"/>
                            <a:pt x="180911" y="706205"/>
                          </a:cubicBezTo>
                          <a:cubicBezTo>
                            <a:pt x="265917" y="839163"/>
                            <a:pt x="326947" y="921990"/>
                            <a:pt x="409773" y="904553"/>
                          </a:cubicBezTo>
                          <a:cubicBezTo>
                            <a:pt x="449007" y="884936"/>
                            <a:pt x="531833" y="751978"/>
                            <a:pt x="348743" y="442468"/>
                          </a:cubicBezTo>
                          <a:cubicBezTo>
                            <a:pt x="189629" y="189629"/>
                            <a:pt x="95904" y="43593"/>
                            <a:pt x="52311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7" name="Freihandform: Form 200">
                      <a:extLst>
                        <a:ext uri="{FF2B5EF4-FFF2-40B4-BE49-F238E27FC236}">
                          <a16:creationId xmlns:a16="http://schemas.microsoft.com/office/drawing/2014/main" id="{EDD46178-1DF0-4621-81BB-0F49C6E878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50217" y="1226985"/>
                      <a:ext cx="784672" cy="662868"/>
                    </a:xfrm>
                    <a:custGeom>
                      <a:avLst/>
                      <a:gdLst>
                        <a:gd name="connsiteX0" fmla="*/ 440288 w 784672"/>
                        <a:gd name="connsiteY0" fmla="*/ 453366 h 662868"/>
                        <a:gd name="connsiteX1" fmla="*/ 784672 w 784672"/>
                        <a:gd name="connsiteY1" fmla="*/ 45773 h 662868"/>
                        <a:gd name="connsiteX2" fmla="*/ 749798 w 784672"/>
                        <a:gd name="connsiteY2" fmla="*/ 0 h 662868"/>
                        <a:gd name="connsiteX3" fmla="*/ 139497 w 784672"/>
                        <a:gd name="connsiteY3" fmla="*/ 361821 h 662868"/>
                        <a:gd name="connsiteX4" fmla="*/ 10898 w 784672"/>
                        <a:gd name="connsiteY4" fmla="*/ 636456 h 662868"/>
                        <a:gd name="connsiteX5" fmla="*/ 440288 w 784672"/>
                        <a:gd name="connsiteY5" fmla="*/ 453366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440288" y="453366"/>
                          </a:moveTo>
                          <a:cubicBezTo>
                            <a:pt x="638636" y="228863"/>
                            <a:pt x="754157" y="100264"/>
                            <a:pt x="784672" y="45773"/>
                          </a:cubicBezTo>
                          <a:lnTo>
                            <a:pt x="749798" y="0"/>
                          </a:lnTo>
                          <a:cubicBezTo>
                            <a:pt x="749798" y="0"/>
                            <a:pt x="244120" y="244120"/>
                            <a:pt x="139497" y="361821"/>
                          </a:cubicBezTo>
                          <a:cubicBezTo>
                            <a:pt x="34874" y="479522"/>
                            <a:pt x="-26156" y="560169"/>
                            <a:pt x="10898" y="636456"/>
                          </a:cubicBezTo>
                          <a:cubicBezTo>
                            <a:pt x="41413" y="671331"/>
                            <a:pt x="191809" y="714924"/>
                            <a:pt x="440288" y="45336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8" name="Freihandform: Form 201">
                      <a:extLst>
                        <a:ext uri="{FF2B5EF4-FFF2-40B4-BE49-F238E27FC236}">
                          <a16:creationId xmlns:a16="http://schemas.microsoft.com/office/drawing/2014/main" id="{31074599-4291-4DE4-AC9D-D74EA59A4AC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51817" y="1240063"/>
                      <a:ext cx="424485" cy="912038"/>
                    </a:xfrm>
                    <a:custGeom>
                      <a:avLst/>
                      <a:gdLst>
                        <a:gd name="connsiteX0" fmla="*/ 317683 w 424485"/>
                        <a:gd name="connsiteY0" fmla="*/ 531833 h 912038"/>
                        <a:gd name="connsiteX1" fmla="*/ 424486 w 424485"/>
                        <a:gd name="connsiteY1" fmla="*/ 17437 h 912038"/>
                        <a:gd name="connsiteX2" fmla="*/ 376534 w 424485"/>
                        <a:gd name="connsiteY2" fmla="*/ 0 h 912038"/>
                        <a:gd name="connsiteX3" fmla="*/ 29970 w 424485"/>
                        <a:gd name="connsiteY3" fmla="*/ 619019 h 912038"/>
                        <a:gd name="connsiteX4" fmla="*/ 45228 w 424485"/>
                        <a:gd name="connsiteY4" fmla="*/ 911092 h 912038"/>
                        <a:gd name="connsiteX5" fmla="*/ 317683 w 424485"/>
                        <a:gd name="connsiteY5" fmla="*/ 531833 h 9120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38">
                          <a:moveTo>
                            <a:pt x="317683" y="531833"/>
                          </a:moveTo>
                          <a:cubicBezTo>
                            <a:pt x="383073" y="241941"/>
                            <a:pt x="422306" y="76288"/>
                            <a:pt x="424486" y="17437"/>
                          </a:cubicBezTo>
                          <a:lnTo>
                            <a:pt x="376534" y="0"/>
                          </a:lnTo>
                          <a:cubicBezTo>
                            <a:pt x="376534" y="0"/>
                            <a:pt x="64844" y="466444"/>
                            <a:pt x="29970" y="619019"/>
                          </a:cubicBezTo>
                          <a:cubicBezTo>
                            <a:pt x="-4904" y="769415"/>
                            <a:pt x="-20162" y="867499"/>
                            <a:pt x="45228" y="911092"/>
                          </a:cubicBezTo>
                          <a:cubicBezTo>
                            <a:pt x="82282" y="919810"/>
                            <a:pt x="226138" y="874038"/>
                            <a:pt x="317683" y="53183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89" name="Freihandform: Form 172">
                  <a:extLst>
                    <a:ext uri="{FF2B5EF4-FFF2-40B4-BE49-F238E27FC236}">
                      <a16:creationId xmlns:a16="http://schemas.microsoft.com/office/drawing/2014/main" id="{8D56A721-FA85-4A91-82D1-71AB6E6B2F54}"/>
                    </a:ext>
                  </a:extLst>
                </p:cNvPr>
                <p:cNvSpPr/>
                <p:nvPr/>
              </p:nvSpPr>
              <p:spPr>
                <a:xfrm>
                  <a:off x="11282314" y="978505"/>
                  <a:ext cx="414132" cy="396695"/>
                </a:xfrm>
                <a:custGeom>
                  <a:avLst/>
                  <a:gdLst>
                    <a:gd name="connsiteX0" fmla="*/ 414133 w 414132"/>
                    <a:gd name="connsiteY0" fmla="*/ 198348 h 396695"/>
                    <a:gd name="connsiteX1" fmla="*/ 207066 w 414132"/>
                    <a:gd name="connsiteY1" fmla="*/ 396695 h 396695"/>
                    <a:gd name="connsiteX2" fmla="*/ 0 w 414132"/>
                    <a:gd name="connsiteY2" fmla="*/ 198348 h 396695"/>
                    <a:gd name="connsiteX3" fmla="*/ 207066 w 414132"/>
                    <a:gd name="connsiteY3" fmla="*/ 0 h 396695"/>
                    <a:gd name="connsiteX4" fmla="*/ 414133 w 414132"/>
                    <a:gd name="connsiteY4" fmla="*/ 198348 h 396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4132" h="396695">
                      <a:moveTo>
                        <a:pt x="414133" y="198348"/>
                      </a:moveTo>
                      <a:cubicBezTo>
                        <a:pt x="414133" y="307330"/>
                        <a:pt x="322587" y="396695"/>
                        <a:pt x="207066" y="396695"/>
                      </a:cubicBezTo>
                      <a:cubicBezTo>
                        <a:pt x="93725" y="396695"/>
                        <a:pt x="0" y="307330"/>
                        <a:pt x="0" y="198348"/>
                      </a:cubicBezTo>
                      <a:cubicBezTo>
                        <a:pt x="0" y="89365"/>
                        <a:pt x="91545" y="0"/>
                        <a:pt x="207066" y="0"/>
                      </a:cubicBezTo>
                      <a:cubicBezTo>
                        <a:pt x="320408" y="0"/>
                        <a:pt x="414133" y="89365"/>
                        <a:pt x="414133" y="198348"/>
                      </a:cubicBezTo>
                      <a:close/>
                    </a:path>
                  </a:pathLst>
                </a:custGeom>
                <a:solidFill>
                  <a:srgbClr val="FFBB00"/>
                </a:solidFill>
                <a:ln w="2177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87" name="Ellipse 170">
                <a:extLst>
                  <a:ext uri="{FF2B5EF4-FFF2-40B4-BE49-F238E27FC236}">
                    <a16:creationId xmlns:a16="http://schemas.microsoft.com/office/drawing/2014/main" id="{E6F5F2EE-EE39-42B5-AA16-05C1710C54B7}"/>
                  </a:ext>
                </a:extLst>
              </p:cNvPr>
              <p:cNvSpPr/>
              <p:nvPr/>
            </p:nvSpPr>
            <p:spPr bwMode="gray">
              <a:xfrm>
                <a:off x="11227609" y="960958"/>
                <a:ext cx="403666" cy="382238"/>
              </a:xfrm>
              <a:prstGeom prst="ellipse">
                <a:avLst/>
              </a:prstGeom>
              <a:solidFill>
                <a:srgbClr val="FFD066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0000"/>
                  </a:lnSpc>
                </a:pPr>
                <a:endParaRPr lang="de-DE" sz="1600">
                  <a:solidFill>
                    <a:srgbClr val="FFD066"/>
                  </a:solidFill>
                </a:endParaRPr>
              </a:p>
            </p:txBody>
          </p:sp>
        </p:grpSp>
        <p:grpSp>
          <p:nvGrpSpPr>
            <p:cNvPr id="12" name="Gruppieren 168">
              <a:extLst>
                <a:ext uri="{FF2B5EF4-FFF2-40B4-BE49-F238E27FC236}">
                  <a16:creationId xmlns:a16="http://schemas.microsoft.com/office/drawing/2014/main" id="{2D91C88C-0FC8-4E17-90E1-EA65903F4A28}"/>
                </a:ext>
              </a:extLst>
            </p:cNvPr>
            <p:cNvGrpSpPr/>
            <p:nvPr/>
          </p:nvGrpSpPr>
          <p:grpSpPr>
            <a:xfrm>
              <a:off x="9935468" y="336447"/>
              <a:ext cx="702670" cy="712587"/>
              <a:chOff x="10366017" y="30973"/>
              <a:chExt cx="2246316" cy="2278019"/>
            </a:xfrm>
          </p:grpSpPr>
          <p:grpSp>
            <p:nvGrpSpPr>
              <p:cNvPr id="53" name="Grafik 5">
                <a:extLst>
                  <a:ext uri="{FF2B5EF4-FFF2-40B4-BE49-F238E27FC236}">
                    <a16:creationId xmlns:a16="http://schemas.microsoft.com/office/drawing/2014/main" id="{3526A497-56FC-4DB3-81D4-C0F34FE9E373}"/>
                  </a:ext>
                </a:extLst>
              </p:cNvPr>
              <p:cNvGrpSpPr/>
              <p:nvPr/>
            </p:nvGrpSpPr>
            <p:grpSpPr>
              <a:xfrm>
                <a:off x="10366017" y="30973"/>
                <a:ext cx="2246316" cy="2278019"/>
                <a:chOff x="10396141" y="22604"/>
                <a:chExt cx="2246316" cy="2278019"/>
              </a:xfrm>
            </p:grpSpPr>
            <p:grpSp>
              <p:nvGrpSpPr>
                <p:cNvPr id="55" name="Grafik 5">
                  <a:extLst>
                    <a:ext uri="{FF2B5EF4-FFF2-40B4-BE49-F238E27FC236}">
                      <a16:creationId xmlns:a16="http://schemas.microsoft.com/office/drawing/2014/main" id="{8845A494-1235-403C-AE8D-CCF7C3574357}"/>
                    </a:ext>
                  </a:extLst>
                </p:cNvPr>
                <p:cNvGrpSpPr/>
                <p:nvPr/>
              </p:nvGrpSpPr>
              <p:grpSpPr>
                <a:xfrm>
                  <a:off x="10396141" y="22604"/>
                  <a:ext cx="2246316" cy="2278019"/>
                  <a:chOff x="10396141" y="22604"/>
                  <a:chExt cx="2246316" cy="2278019"/>
                </a:xfrm>
              </p:grpSpPr>
              <p:sp>
                <p:nvSpPr>
                  <p:cNvPr id="57" name="Freihandform: Form 173">
                    <a:extLst>
                      <a:ext uri="{FF2B5EF4-FFF2-40B4-BE49-F238E27FC236}">
                        <a16:creationId xmlns:a16="http://schemas.microsoft.com/office/drawing/2014/main" id="{69A78EF7-1C34-4160-90B0-123CFD15D71E}"/>
                      </a:ext>
                    </a:extLst>
                  </p:cNvPr>
                  <p:cNvSpPr/>
                  <p:nvPr/>
                </p:nvSpPr>
                <p:spPr>
                  <a:xfrm>
                    <a:off x="11561309" y="346257"/>
                    <a:ext cx="822081" cy="810979"/>
                  </a:xfrm>
                  <a:custGeom>
                    <a:avLst/>
                    <a:gdLst>
                      <a:gd name="connsiteX0" fmla="*/ 0 w 822081"/>
                      <a:gd name="connsiteY0" fmla="*/ 769566 h 810979"/>
                      <a:gd name="connsiteX1" fmla="*/ 41413 w 822081"/>
                      <a:gd name="connsiteY1" fmla="*/ 810980 h 810979"/>
                      <a:gd name="connsiteX2" fmla="*/ 686588 w 822081"/>
                      <a:gd name="connsiteY2" fmla="*/ 329278 h 810979"/>
                      <a:gd name="connsiteX3" fmla="*/ 804289 w 822081"/>
                      <a:gd name="connsiteY3" fmla="*/ 15409 h 810979"/>
                      <a:gd name="connsiteX4" fmla="*/ 344384 w 822081"/>
                      <a:gd name="connsiteY4" fmla="*/ 279146 h 810979"/>
                      <a:gd name="connsiteX5" fmla="*/ 0 w 822081"/>
                      <a:gd name="connsiteY5" fmla="*/ 769566 h 8109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10979">
                        <a:moveTo>
                          <a:pt x="0" y="769566"/>
                        </a:moveTo>
                        <a:lnTo>
                          <a:pt x="41413" y="810980"/>
                        </a:lnTo>
                        <a:cubicBezTo>
                          <a:pt x="41413" y="810980"/>
                          <a:pt x="579786" y="470955"/>
                          <a:pt x="686588" y="329278"/>
                        </a:cubicBezTo>
                        <a:cubicBezTo>
                          <a:pt x="793391" y="187601"/>
                          <a:pt x="854421" y="91697"/>
                          <a:pt x="804289" y="15409"/>
                        </a:cubicBezTo>
                        <a:cubicBezTo>
                          <a:pt x="767235" y="-12926"/>
                          <a:pt x="597223" y="-36902"/>
                          <a:pt x="344384" y="279146"/>
                        </a:cubicBezTo>
                        <a:cubicBezTo>
                          <a:pt x="143857" y="553782"/>
                          <a:pt x="28335" y="708536"/>
                          <a:pt x="0" y="769566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" name="Freihandform: Form 174">
                    <a:extLst>
                      <a:ext uri="{FF2B5EF4-FFF2-40B4-BE49-F238E27FC236}">
                        <a16:creationId xmlns:a16="http://schemas.microsoft.com/office/drawing/2014/main" id="{0E963FA4-63B3-4DFA-BC7D-66EA32F8C4C3}"/>
                      </a:ext>
                    </a:extLst>
                  </p:cNvPr>
                  <p:cNvSpPr/>
                  <p:nvPr/>
                </p:nvSpPr>
                <p:spPr>
                  <a:xfrm>
                    <a:off x="11584523" y="64140"/>
                    <a:ext cx="447589" cy="1112779"/>
                  </a:xfrm>
                  <a:custGeom>
                    <a:avLst/>
                    <a:gdLst>
                      <a:gd name="connsiteX0" fmla="*/ 4393 w 447589"/>
                      <a:gd name="connsiteY0" fmla="*/ 1077905 h 1112779"/>
                      <a:gd name="connsiteX1" fmla="*/ 78501 w 447589"/>
                      <a:gd name="connsiteY1" fmla="*/ 1112779 h 1112779"/>
                      <a:gd name="connsiteX2" fmla="*/ 440322 w 447589"/>
                      <a:gd name="connsiteY2" fmla="*/ 389137 h 1112779"/>
                      <a:gd name="connsiteX3" fmla="*/ 350957 w 447589"/>
                      <a:gd name="connsiteY3" fmla="*/ 5520 h 1112779"/>
                      <a:gd name="connsiteX4" fmla="*/ 39268 w 447589"/>
                      <a:gd name="connsiteY4" fmla="*/ 432730 h 1112779"/>
                      <a:gd name="connsiteX5" fmla="*/ 4393 w 447589"/>
                      <a:gd name="connsiteY5" fmla="*/ 1077905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7589" h="1112779">
                        <a:moveTo>
                          <a:pt x="4393" y="1077905"/>
                        </a:moveTo>
                        <a:lnTo>
                          <a:pt x="78501" y="1112779"/>
                        </a:lnTo>
                        <a:cubicBezTo>
                          <a:pt x="78501" y="1112779"/>
                          <a:pt x="425065" y="576587"/>
                          <a:pt x="440322" y="389137"/>
                        </a:cubicBezTo>
                        <a:cubicBezTo>
                          <a:pt x="455580" y="199508"/>
                          <a:pt x="455580" y="77448"/>
                          <a:pt x="350957" y="5520"/>
                        </a:cubicBezTo>
                        <a:cubicBezTo>
                          <a:pt x="292106" y="-16277"/>
                          <a:pt x="91579" y="7699"/>
                          <a:pt x="39268" y="432730"/>
                        </a:cubicBezTo>
                        <a:cubicBezTo>
                          <a:pt x="8752" y="794551"/>
                          <a:pt x="-8685" y="1001617"/>
                          <a:pt x="4393" y="1077905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" name="Freihandform: Form 175">
                    <a:extLst>
                      <a:ext uri="{FF2B5EF4-FFF2-40B4-BE49-F238E27FC236}">
                        <a16:creationId xmlns:a16="http://schemas.microsoft.com/office/drawing/2014/main" id="{B5E55859-FECB-41B4-A563-20535E324570}"/>
                      </a:ext>
                    </a:extLst>
                  </p:cNvPr>
                  <p:cNvSpPr/>
                  <p:nvPr/>
                </p:nvSpPr>
                <p:spPr>
                  <a:xfrm>
                    <a:off x="11600346" y="686711"/>
                    <a:ext cx="1003874" cy="450498"/>
                  </a:xfrm>
                  <a:custGeom>
                    <a:avLst/>
                    <a:gdLst>
                      <a:gd name="connsiteX0" fmla="*/ 19617 w 1003874"/>
                      <a:gd name="connsiteY0" fmla="*/ 450498 h 450498"/>
                      <a:gd name="connsiteX1" fmla="*/ 773774 w 1003874"/>
                      <a:gd name="connsiteY1" fmla="*/ 293564 h 450498"/>
                      <a:gd name="connsiteX2" fmla="*/ 1002637 w 1003874"/>
                      <a:gd name="connsiteY2" fmla="*/ 62522 h 450498"/>
                      <a:gd name="connsiteX3" fmla="*/ 496959 w 1003874"/>
                      <a:gd name="connsiteY3" fmla="*/ 101755 h 450498"/>
                      <a:gd name="connsiteX4" fmla="*/ 0 w 1003874"/>
                      <a:gd name="connsiteY4" fmla="*/ 391648 h 450498"/>
                      <a:gd name="connsiteX5" fmla="*/ 19617 w 1003874"/>
                      <a:gd name="connsiteY5" fmla="*/ 450498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19617" y="450498"/>
                        </a:moveTo>
                        <a:cubicBezTo>
                          <a:pt x="19617" y="450498"/>
                          <a:pt x="623378" y="376390"/>
                          <a:pt x="773774" y="293564"/>
                        </a:cubicBezTo>
                        <a:cubicBezTo>
                          <a:pt x="924169" y="210737"/>
                          <a:pt x="1015714" y="151887"/>
                          <a:pt x="1002637" y="62522"/>
                        </a:cubicBezTo>
                        <a:cubicBezTo>
                          <a:pt x="983020" y="21108"/>
                          <a:pt x="843523" y="-72616"/>
                          <a:pt x="496959" y="101755"/>
                        </a:cubicBezTo>
                        <a:cubicBezTo>
                          <a:pt x="211426" y="258690"/>
                          <a:pt x="50132" y="350235"/>
                          <a:pt x="0" y="391648"/>
                        </a:cubicBezTo>
                        <a:lnTo>
                          <a:pt x="19617" y="450498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0" name="Freihandform: Form 176">
                    <a:extLst>
                      <a:ext uri="{FF2B5EF4-FFF2-40B4-BE49-F238E27FC236}">
                        <a16:creationId xmlns:a16="http://schemas.microsoft.com/office/drawing/2014/main" id="{0ACC9DC6-5265-4A57-A89C-AA08FC9122B3}"/>
                      </a:ext>
                    </a:extLst>
                  </p:cNvPr>
                  <p:cNvSpPr/>
                  <p:nvPr/>
                </p:nvSpPr>
                <p:spPr>
                  <a:xfrm>
                    <a:off x="11558883" y="1289985"/>
                    <a:ext cx="920658" cy="548241"/>
                  </a:xfrm>
                  <a:custGeom>
                    <a:avLst/>
                    <a:gdLst>
                      <a:gd name="connsiteX0" fmla="*/ 30515 w 920658"/>
                      <a:gd name="connsiteY0" fmla="*/ 0 h 548241"/>
                      <a:gd name="connsiteX1" fmla="*/ 0 w 920658"/>
                      <a:gd name="connsiteY1" fmla="*/ 52311 h 548241"/>
                      <a:gd name="connsiteX2" fmla="*/ 597223 w 920658"/>
                      <a:gd name="connsiteY2" fmla="*/ 494779 h 548241"/>
                      <a:gd name="connsiteX3" fmla="*/ 915451 w 920658"/>
                      <a:gd name="connsiteY3" fmla="*/ 507857 h 548241"/>
                      <a:gd name="connsiteX4" fmla="*/ 564528 w 920658"/>
                      <a:gd name="connsiteY4" fmla="*/ 167833 h 548241"/>
                      <a:gd name="connsiteX5" fmla="*/ 30515 w 920658"/>
                      <a:gd name="connsiteY5" fmla="*/ 0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30515" y="0"/>
                        </a:moveTo>
                        <a:lnTo>
                          <a:pt x="0" y="52311"/>
                        </a:lnTo>
                        <a:cubicBezTo>
                          <a:pt x="0" y="52311"/>
                          <a:pt x="440288" y="442468"/>
                          <a:pt x="597223" y="494779"/>
                        </a:cubicBezTo>
                        <a:cubicBezTo>
                          <a:pt x="754157" y="549270"/>
                          <a:pt x="856600" y="575426"/>
                          <a:pt x="915451" y="507857"/>
                        </a:cubicBezTo>
                        <a:cubicBezTo>
                          <a:pt x="935068" y="466444"/>
                          <a:pt x="915451" y="302971"/>
                          <a:pt x="564528" y="167833"/>
                        </a:cubicBezTo>
                        <a:cubicBezTo>
                          <a:pt x="265917" y="67569"/>
                          <a:pt x="93725" y="8719"/>
                          <a:pt x="30515" y="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" name="Freihandform: Form 177">
                    <a:extLst>
                      <a:ext uri="{FF2B5EF4-FFF2-40B4-BE49-F238E27FC236}">
                        <a16:creationId xmlns:a16="http://schemas.microsoft.com/office/drawing/2014/main" id="{34414CF9-C9FE-4635-9761-CFFCE9226390}"/>
                      </a:ext>
                    </a:extLst>
                  </p:cNvPr>
                  <p:cNvSpPr/>
                  <p:nvPr/>
                </p:nvSpPr>
                <p:spPr>
                  <a:xfrm>
                    <a:off x="11624519" y="1130985"/>
                    <a:ext cx="1017938" cy="292322"/>
                  </a:xfrm>
                  <a:custGeom>
                    <a:avLst/>
                    <a:gdLst>
                      <a:gd name="connsiteX0" fmla="*/ 8719 w 1017938"/>
                      <a:gd name="connsiteY0" fmla="*/ 37150 h 292322"/>
                      <a:gd name="connsiteX1" fmla="*/ 0 w 1017938"/>
                      <a:gd name="connsiteY1" fmla="*/ 96000 h 292322"/>
                      <a:gd name="connsiteX2" fmla="*/ 717103 w 1017938"/>
                      <a:gd name="connsiteY2" fmla="*/ 292168 h 292322"/>
                      <a:gd name="connsiteX3" fmla="*/ 1017894 w 1017938"/>
                      <a:gd name="connsiteY3" fmla="*/ 187545 h 292322"/>
                      <a:gd name="connsiteX4" fmla="*/ 566708 w 1017938"/>
                      <a:gd name="connsiteY4" fmla="*/ 96 h 292322"/>
                      <a:gd name="connsiteX5" fmla="*/ 8719 w 1017938"/>
                      <a:gd name="connsiteY5" fmla="*/ 37150 h 2923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2322">
                        <a:moveTo>
                          <a:pt x="8719" y="37150"/>
                        </a:moveTo>
                        <a:lnTo>
                          <a:pt x="0" y="96000"/>
                        </a:lnTo>
                        <a:cubicBezTo>
                          <a:pt x="0" y="96000"/>
                          <a:pt x="551450" y="298707"/>
                          <a:pt x="717103" y="292168"/>
                        </a:cubicBezTo>
                        <a:cubicBezTo>
                          <a:pt x="882756" y="285629"/>
                          <a:pt x="987379" y="272551"/>
                          <a:pt x="1017894" y="187545"/>
                        </a:cubicBezTo>
                        <a:cubicBezTo>
                          <a:pt x="1020074" y="141772"/>
                          <a:pt x="943786" y="-4264"/>
                          <a:pt x="566708" y="96"/>
                        </a:cubicBezTo>
                        <a:cubicBezTo>
                          <a:pt x="252839" y="13173"/>
                          <a:pt x="71928" y="21892"/>
                          <a:pt x="8719" y="3715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" name="Freihandform: Form 178">
                    <a:extLst>
                      <a:ext uri="{FF2B5EF4-FFF2-40B4-BE49-F238E27FC236}">
                        <a16:creationId xmlns:a16="http://schemas.microsoft.com/office/drawing/2014/main" id="{67FDC17C-D326-4202-BCF6-DC72867AF978}"/>
                      </a:ext>
                    </a:extLst>
                  </p:cNvPr>
                  <p:cNvSpPr/>
                  <p:nvPr/>
                </p:nvSpPr>
                <p:spPr>
                  <a:xfrm>
                    <a:off x="11600661" y="1229231"/>
                    <a:ext cx="309026" cy="1011355"/>
                  </a:xfrm>
                  <a:custGeom>
                    <a:avLst/>
                    <a:gdLst>
                      <a:gd name="connsiteX0" fmla="*/ 265508 w 309026"/>
                      <a:gd name="connsiteY0" fmla="*/ 527474 h 1011355"/>
                      <a:gd name="connsiteX1" fmla="*/ 75879 w 309026"/>
                      <a:gd name="connsiteY1" fmla="*/ 0 h 1011355"/>
                      <a:gd name="connsiteX2" fmla="*/ 17028 w 309026"/>
                      <a:gd name="connsiteY2" fmla="*/ 6539 h 1011355"/>
                      <a:gd name="connsiteX3" fmla="*/ 25747 w 309026"/>
                      <a:gd name="connsiteY3" fmla="*/ 749798 h 1011355"/>
                      <a:gd name="connsiteX4" fmla="*/ 208837 w 309026"/>
                      <a:gd name="connsiteY4" fmla="*/ 1011355 h 1011355"/>
                      <a:gd name="connsiteX5" fmla="*/ 265508 w 309026"/>
                      <a:gd name="connsiteY5" fmla="*/ 527474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265508" y="527474"/>
                        </a:moveTo>
                        <a:cubicBezTo>
                          <a:pt x="165244" y="228863"/>
                          <a:pt x="108574" y="56671"/>
                          <a:pt x="75879" y="0"/>
                        </a:cubicBezTo>
                        <a:lnTo>
                          <a:pt x="17028" y="6539"/>
                        </a:lnTo>
                        <a:cubicBezTo>
                          <a:pt x="17028" y="6539"/>
                          <a:pt x="-26564" y="592863"/>
                          <a:pt x="25747" y="749798"/>
                        </a:cubicBezTo>
                        <a:cubicBezTo>
                          <a:pt x="78059" y="906732"/>
                          <a:pt x="119472" y="1004816"/>
                          <a:pt x="208837" y="1011355"/>
                        </a:cubicBezTo>
                        <a:cubicBezTo>
                          <a:pt x="254610" y="1002637"/>
                          <a:pt x="372311" y="889295"/>
                          <a:pt x="265508" y="5274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" name="Freihandform: Form 179">
                    <a:extLst>
                      <a:ext uri="{FF2B5EF4-FFF2-40B4-BE49-F238E27FC236}">
                        <a16:creationId xmlns:a16="http://schemas.microsoft.com/office/drawing/2014/main" id="{87EE647A-CC59-4D1D-BB28-12B61A2081F8}"/>
                      </a:ext>
                    </a:extLst>
                  </p:cNvPr>
                  <p:cNvSpPr/>
                  <p:nvPr/>
                </p:nvSpPr>
                <p:spPr>
                  <a:xfrm>
                    <a:off x="11580683" y="1207046"/>
                    <a:ext cx="670938" cy="823422"/>
                  </a:xfrm>
                  <a:custGeom>
                    <a:avLst/>
                    <a:gdLst>
                      <a:gd name="connsiteX0" fmla="*/ 451186 w 670938"/>
                      <a:gd name="connsiteY0" fmla="*/ 366180 h 823422"/>
                      <a:gd name="connsiteX1" fmla="*/ 41413 w 670938"/>
                      <a:gd name="connsiteY1" fmla="*/ 0 h 823422"/>
                      <a:gd name="connsiteX2" fmla="*/ 0 w 670938"/>
                      <a:gd name="connsiteY2" fmla="*/ 34874 h 823422"/>
                      <a:gd name="connsiteX3" fmla="*/ 379258 w 670938"/>
                      <a:gd name="connsiteY3" fmla="*/ 673510 h 823422"/>
                      <a:gd name="connsiteX4" fmla="*/ 651714 w 670938"/>
                      <a:gd name="connsiteY4" fmla="*/ 813008 h 823422"/>
                      <a:gd name="connsiteX5" fmla="*/ 451186 w 670938"/>
                      <a:gd name="connsiteY5" fmla="*/ 366180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451186" y="366180"/>
                        </a:moveTo>
                        <a:cubicBezTo>
                          <a:pt x="224503" y="154755"/>
                          <a:pt x="93725" y="32695"/>
                          <a:pt x="41413" y="0"/>
                        </a:cubicBezTo>
                        <a:lnTo>
                          <a:pt x="0" y="34874"/>
                        </a:lnTo>
                        <a:cubicBezTo>
                          <a:pt x="0" y="34874"/>
                          <a:pt x="261557" y="562348"/>
                          <a:pt x="379258" y="673510"/>
                        </a:cubicBezTo>
                        <a:cubicBezTo>
                          <a:pt x="499139" y="784672"/>
                          <a:pt x="577606" y="850061"/>
                          <a:pt x="651714" y="813008"/>
                        </a:cubicBezTo>
                        <a:cubicBezTo>
                          <a:pt x="680049" y="782492"/>
                          <a:pt x="714923" y="629917"/>
                          <a:pt x="451186" y="36618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" name="Freihandform: Form 180">
                    <a:extLst>
                      <a:ext uri="{FF2B5EF4-FFF2-40B4-BE49-F238E27FC236}">
                        <a16:creationId xmlns:a16="http://schemas.microsoft.com/office/drawing/2014/main" id="{6C0701D4-E3CB-4142-8941-B65C767FBA27}"/>
                      </a:ext>
                    </a:extLst>
                  </p:cNvPr>
                  <p:cNvSpPr/>
                  <p:nvPr/>
                </p:nvSpPr>
                <p:spPr>
                  <a:xfrm>
                    <a:off x="10684134" y="1200498"/>
                    <a:ext cx="822081" cy="808800"/>
                  </a:xfrm>
                  <a:custGeom>
                    <a:avLst/>
                    <a:gdLst>
                      <a:gd name="connsiteX0" fmla="*/ 822081 w 822081"/>
                      <a:gd name="connsiteY0" fmla="*/ 41413 h 808800"/>
                      <a:gd name="connsiteX1" fmla="*/ 780668 w 822081"/>
                      <a:gd name="connsiteY1" fmla="*/ 0 h 808800"/>
                      <a:gd name="connsiteX2" fmla="*/ 135493 w 822081"/>
                      <a:gd name="connsiteY2" fmla="*/ 481701 h 808800"/>
                      <a:gd name="connsiteX3" fmla="*/ 17792 w 822081"/>
                      <a:gd name="connsiteY3" fmla="*/ 793391 h 808800"/>
                      <a:gd name="connsiteX4" fmla="*/ 477697 w 822081"/>
                      <a:gd name="connsiteY4" fmla="*/ 529654 h 808800"/>
                      <a:gd name="connsiteX5" fmla="*/ 822081 w 822081"/>
                      <a:gd name="connsiteY5" fmla="*/ 41413 h 808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08800">
                        <a:moveTo>
                          <a:pt x="822081" y="41413"/>
                        </a:moveTo>
                        <a:lnTo>
                          <a:pt x="780668" y="0"/>
                        </a:lnTo>
                        <a:cubicBezTo>
                          <a:pt x="780668" y="0"/>
                          <a:pt x="242296" y="340025"/>
                          <a:pt x="135493" y="481701"/>
                        </a:cubicBezTo>
                        <a:cubicBezTo>
                          <a:pt x="28691" y="623378"/>
                          <a:pt x="-32339" y="719283"/>
                          <a:pt x="17792" y="793391"/>
                        </a:cubicBezTo>
                        <a:cubicBezTo>
                          <a:pt x="54846" y="821726"/>
                          <a:pt x="224859" y="845702"/>
                          <a:pt x="477697" y="529654"/>
                        </a:cubicBezTo>
                        <a:cubicBezTo>
                          <a:pt x="676045" y="259378"/>
                          <a:pt x="791566" y="104623"/>
                          <a:pt x="822081" y="4141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5" name="Freihandform: Form 181">
                    <a:extLst>
                      <a:ext uri="{FF2B5EF4-FFF2-40B4-BE49-F238E27FC236}">
                        <a16:creationId xmlns:a16="http://schemas.microsoft.com/office/drawing/2014/main" id="{7C856744-E57C-4608-8C3A-979D974D07F0}"/>
                      </a:ext>
                    </a:extLst>
                  </p:cNvPr>
                  <p:cNvSpPr/>
                  <p:nvPr/>
                </p:nvSpPr>
                <p:spPr>
                  <a:xfrm>
                    <a:off x="11103490" y="1187844"/>
                    <a:ext cx="446476" cy="1112779"/>
                  </a:xfrm>
                  <a:custGeom>
                    <a:avLst/>
                    <a:gdLst>
                      <a:gd name="connsiteX0" fmla="*/ 443197 w 446476"/>
                      <a:gd name="connsiteY0" fmla="*/ 34874 h 1112779"/>
                      <a:gd name="connsiteX1" fmla="*/ 369089 w 446476"/>
                      <a:gd name="connsiteY1" fmla="*/ 0 h 1112779"/>
                      <a:gd name="connsiteX2" fmla="*/ 7268 w 446476"/>
                      <a:gd name="connsiteY2" fmla="*/ 723642 h 1112779"/>
                      <a:gd name="connsiteX3" fmla="*/ 96633 w 446476"/>
                      <a:gd name="connsiteY3" fmla="*/ 1107260 h 1112779"/>
                      <a:gd name="connsiteX4" fmla="*/ 408322 w 446476"/>
                      <a:gd name="connsiteY4" fmla="*/ 680049 h 1112779"/>
                      <a:gd name="connsiteX5" fmla="*/ 443197 w 446476"/>
                      <a:gd name="connsiteY5" fmla="*/ 34874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6476" h="1112779">
                        <a:moveTo>
                          <a:pt x="443197" y="34874"/>
                        </a:moveTo>
                        <a:lnTo>
                          <a:pt x="369089" y="0"/>
                        </a:lnTo>
                        <a:cubicBezTo>
                          <a:pt x="369089" y="0"/>
                          <a:pt x="22525" y="536193"/>
                          <a:pt x="7268" y="723642"/>
                        </a:cubicBezTo>
                        <a:cubicBezTo>
                          <a:pt x="-7990" y="913271"/>
                          <a:pt x="-7990" y="1035331"/>
                          <a:pt x="96633" y="1107260"/>
                        </a:cubicBezTo>
                        <a:cubicBezTo>
                          <a:pt x="155483" y="1129056"/>
                          <a:pt x="356011" y="1105080"/>
                          <a:pt x="408322" y="680049"/>
                        </a:cubicBezTo>
                        <a:cubicBezTo>
                          <a:pt x="436658" y="318228"/>
                          <a:pt x="454095" y="111162"/>
                          <a:pt x="443197" y="348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" name="Freihandform: Form 182">
                    <a:extLst>
                      <a:ext uri="{FF2B5EF4-FFF2-40B4-BE49-F238E27FC236}">
                        <a16:creationId xmlns:a16="http://schemas.microsoft.com/office/drawing/2014/main" id="{5AB67C3E-1337-4AAC-9067-FB0CEACBE81B}"/>
                      </a:ext>
                    </a:extLst>
                  </p:cNvPr>
                  <p:cNvSpPr/>
                  <p:nvPr/>
                </p:nvSpPr>
                <p:spPr>
                  <a:xfrm>
                    <a:off x="10396141" y="1131081"/>
                    <a:ext cx="1003874" cy="450498"/>
                  </a:xfrm>
                  <a:custGeom>
                    <a:avLst/>
                    <a:gdLst>
                      <a:gd name="connsiteX0" fmla="*/ 984257 w 1003874"/>
                      <a:gd name="connsiteY0" fmla="*/ 0 h 450498"/>
                      <a:gd name="connsiteX1" fmla="*/ 230100 w 1003874"/>
                      <a:gd name="connsiteY1" fmla="*/ 156934 h 450498"/>
                      <a:gd name="connsiteX2" fmla="*/ 1237 w 1003874"/>
                      <a:gd name="connsiteY2" fmla="*/ 387977 h 450498"/>
                      <a:gd name="connsiteX3" fmla="*/ 506915 w 1003874"/>
                      <a:gd name="connsiteY3" fmla="*/ 348743 h 450498"/>
                      <a:gd name="connsiteX4" fmla="*/ 1003874 w 1003874"/>
                      <a:gd name="connsiteY4" fmla="*/ 58850 h 450498"/>
                      <a:gd name="connsiteX5" fmla="*/ 984257 w 1003874"/>
                      <a:gd name="connsiteY5" fmla="*/ 0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984257" y="0"/>
                        </a:moveTo>
                        <a:cubicBezTo>
                          <a:pt x="984257" y="0"/>
                          <a:pt x="380496" y="74108"/>
                          <a:pt x="230100" y="156934"/>
                        </a:cubicBezTo>
                        <a:cubicBezTo>
                          <a:pt x="79705" y="239761"/>
                          <a:pt x="-11840" y="298611"/>
                          <a:pt x="1237" y="387977"/>
                        </a:cubicBezTo>
                        <a:cubicBezTo>
                          <a:pt x="20854" y="429390"/>
                          <a:pt x="160352" y="523115"/>
                          <a:pt x="506915" y="348743"/>
                        </a:cubicBezTo>
                        <a:cubicBezTo>
                          <a:pt x="792449" y="191809"/>
                          <a:pt x="953742" y="100264"/>
                          <a:pt x="1003874" y="58850"/>
                        </a:cubicBezTo>
                        <a:lnTo>
                          <a:pt x="984257" y="0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" name="Freihandform: Form 183">
                    <a:extLst>
                      <a:ext uri="{FF2B5EF4-FFF2-40B4-BE49-F238E27FC236}">
                        <a16:creationId xmlns:a16="http://schemas.microsoft.com/office/drawing/2014/main" id="{66FDD839-98DA-4346-BE6D-F2BCBA048F28}"/>
                      </a:ext>
                    </a:extLst>
                  </p:cNvPr>
                  <p:cNvSpPr/>
                  <p:nvPr/>
                </p:nvSpPr>
                <p:spPr>
                  <a:xfrm>
                    <a:off x="10585147" y="494585"/>
                    <a:ext cx="920658" cy="548241"/>
                  </a:xfrm>
                  <a:custGeom>
                    <a:avLst/>
                    <a:gdLst>
                      <a:gd name="connsiteX0" fmla="*/ 890144 w 920658"/>
                      <a:gd name="connsiteY0" fmla="*/ 548241 h 548241"/>
                      <a:gd name="connsiteX1" fmla="*/ 920659 w 920658"/>
                      <a:gd name="connsiteY1" fmla="*/ 495930 h 548241"/>
                      <a:gd name="connsiteX2" fmla="*/ 323436 w 920658"/>
                      <a:gd name="connsiteY2" fmla="*/ 53462 h 548241"/>
                      <a:gd name="connsiteX3" fmla="*/ 5208 w 920658"/>
                      <a:gd name="connsiteY3" fmla="*/ 40384 h 548241"/>
                      <a:gd name="connsiteX4" fmla="*/ 356131 w 920658"/>
                      <a:gd name="connsiteY4" fmla="*/ 380409 h 548241"/>
                      <a:gd name="connsiteX5" fmla="*/ 890144 w 920658"/>
                      <a:gd name="connsiteY5" fmla="*/ 548241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890144" y="548241"/>
                        </a:moveTo>
                        <a:lnTo>
                          <a:pt x="920659" y="495930"/>
                        </a:lnTo>
                        <a:cubicBezTo>
                          <a:pt x="920659" y="495930"/>
                          <a:pt x="480371" y="105773"/>
                          <a:pt x="323436" y="53462"/>
                        </a:cubicBezTo>
                        <a:cubicBezTo>
                          <a:pt x="166502" y="-1029"/>
                          <a:pt x="64059" y="-27185"/>
                          <a:pt x="5208" y="40384"/>
                        </a:cubicBezTo>
                        <a:cubicBezTo>
                          <a:pt x="-14409" y="81797"/>
                          <a:pt x="5208" y="245271"/>
                          <a:pt x="356131" y="380409"/>
                        </a:cubicBezTo>
                        <a:cubicBezTo>
                          <a:pt x="654742" y="482852"/>
                          <a:pt x="826934" y="541702"/>
                          <a:pt x="890144" y="54824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" name="Freihandform: Form 184">
                    <a:extLst>
                      <a:ext uri="{FF2B5EF4-FFF2-40B4-BE49-F238E27FC236}">
                        <a16:creationId xmlns:a16="http://schemas.microsoft.com/office/drawing/2014/main" id="{2C3B9209-900B-462D-AB80-24BCE7D2275E}"/>
                      </a:ext>
                    </a:extLst>
                  </p:cNvPr>
                  <p:cNvSpPr/>
                  <p:nvPr/>
                </p:nvSpPr>
                <p:spPr>
                  <a:xfrm>
                    <a:off x="10408443" y="881147"/>
                    <a:ext cx="1017938" cy="294502"/>
                  </a:xfrm>
                  <a:custGeom>
                    <a:avLst/>
                    <a:gdLst>
                      <a:gd name="connsiteX0" fmla="*/ 1009220 w 1017938"/>
                      <a:gd name="connsiteY0" fmla="*/ 255173 h 294502"/>
                      <a:gd name="connsiteX1" fmla="*/ 1017939 w 1017938"/>
                      <a:gd name="connsiteY1" fmla="*/ 196323 h 294502"/>
                      <a:gd name="connsiteX2" fmla="*/ 300836 w 1017938"/>
                      <a:gd name="connsiteY2" fmla="*/ 155 h 294502"/>
                      <a:gd name="connsiteX3" fmla="*/ 45 w 1017938"/>
                      <a:gd name="connsiteY3" fmla="*/ 106957 h 294502"/>
                      <a:gd name="connsiteX4" fmla="*/ 451231 w 1017938"/>
                      <a:gd name="connsiteY4" fmla="*/ 294407 h 294502"/>
                      <a:gd name="connsiteX5" fmla="*/ 1009220 w 1017938"/>
                      <a:gd name="connsiteY5" fmla="*/ 255173 h 2945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4502">
                        <a:moveTo>
                          <a:pt x="1009220" y="255173"/>
                        </a:moveTo>
                        <a:lnTo>
                          <a:pt x="1017939" y="196323"/>
                        </a:lnTo>
                        <a:cubicBezTo>
                          <a:pt x="1017939" y="196323"/>
                          <a:pt x="466489" y="-6384"/>
                          <a:pt x="300836" y="155"/>
                        </a:cubicBezTo>
                        <a:cubicBezTo>
                          <a:pt x="135183" y="8873"/>
                          <a:pt x="30560" y="19772"/>
                          <a:pt x="45" y="106957"/>
                        </a:cubicBezTo>
                        <a:cubicBezTo>
                          <a:pt x="-2135" y="152730"/>
                          <a:pt x="74153" y="298766"/>
                          <a:pt x="451231" y="294407"/>
                        </a:cubicBezTo>
                        <a:cubicBezTo>
                          <a:pt x="767280" y="279149"/>
                          <a:pt x="948190" y="272610"/>
                          <a:pt x="1009220" y="25517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" name="Freihandform: Form 185">
                    <a:extLst>
                      <a:ext uri="{FF2B5EF4-FFF2-40B4-BE49-F238E27FC236}">
                        <a16:creationId xmlns:a16="http://schemas.microsoft.com/office/drawing/2014/main" id="{D1129D54-0A06-4A6E-BD76-1D7A56946D9B}"/>
                      </a:ext>
                    </a:extLst>
                  </p:cNvPr>
                  <p:cNvSpPr/>
                  <p:nvPr/>
                </p:nvSpPr>
                <p:spPr>
                  <a:xfrm>
                    <a:off x="11308288" y="22604"/>
                    <a:ext cx="309026" cy="1011355"/>
                  </a:xfrm>
                  <a:custGeom>
                    <a:avLst/>
                    <a:gdLst>
                      <a:gd name="connsiteX0" fmla="*/ 43518 w 309026"/>
                      <a:gd name="connsiteY0" fmla="*/ 483881 h 1011355"/>
                      <a:gd name="connsiteX1" fmla="*/ 233147 w 309026"/>
                      <a:gd name="connsiteY1" fmla="*/ 1011355 h 1011355"/>
                      <a:gd name="connsiteX2" fmla="*/ 291998 w 309026"/>
                      <a:gd name="connsiteY2" fmla="*/ 1004816 h 1011355"/>
                      <a:gd name="connsiteX3" fmla="*/ 283279 w 309026"/>
                      <a:gd name="connsiteY3" fmla="*/ 261557 h 1011355"/>
                      <a:gd name="connsiteX4" fmla="*/ 100189 w 309026"/>
                      <a:gd name="connsiteY4" fmla="*/ 0 h 1011355"/>
                      <a:gd name="connsiteX5" fmla="*/ 43518 w 309026"/>
                      <a:gd name="connsiteY5" fmla="*/ 483881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43518" y="483881"/>
                        </a:moveTo>
                        <a:cubicBezTo>
                          <a:pt x="143782" y="782493"/>
                          <a:pt x="200453" y="954684"/>
                          <a:pt x="233147" y="1011355"/>
                        </a:cubicBezTo>
                        <a:lnTo>
                          <a:pt x="291998" y="1004816"/>
                        </a:lnTo>
                        <a:cubicBezTo>
                          <a:pt x="291998" y="1004816"/>
                          <a:pt x="335591" y="418492"/>
                          <a:pt x="283279" y="261557"/>
                        </a:cubicBezTo>
                        <a:cubicBezTo>
                          <a:pt x="230968" y="104623"/>
                          <a:pt x="189554" y="6539"/>
                          <a:pt x="100189" y="0"/>
                        </a:cubicBezTo>
                        <a:cubicBezTo>
                          <a:pt x="54417" y="8719"/>
                          <a:pt x="-63284" y="122060"/>
                          <a:pt x="43518" y="48388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0" name="Freihandform: Form 186">
                    <a:extLst>
                      <a:ext uri="{FF2B5EF4-FFF2-40B4-BE49-F238E27FC236}">
                        <a16:creationId xmlns:a16="http://schemas.microsoft.com/office/drawing/2014/main" id="{FB8A4BF9-95D0-4C0D-A7BB-97BE7C845D2B}"/>
                      </a:ext>
                    </a:extLst>
                  </p:cNvPr>
                  <p:cNvSpPr/>
                  <p:nvPr/>
                </p:nvSpPr>
                <p:spPr>
                  <a:xfrm>
                    <a:off x="10900924" y="231760"/>
                    <a:ext cx="670938" cy="823422"/>
                  </a:xfrm>
                  <a:custGeom>
                    <a:avLst/>
                    <a:gdLst>
                      <a:gd name="connsiteX0" fmla="*/ 219752 w 670938"/>
                      <a:gd name="connsiteY0" fmla="*/ 457242 h 823422"/>
                      <a:gd name="connsiteX1" fmla="*/ 629525 w 670938"/>
                      <a:gd name="connsiteY1" fmla="*/ 823423 h 823422"/>
                      <a:gd name="connsiteX2" fmla="*/ 670939 w 670938"/>
                      <a:gd name="connsiteY2" fmla="*/ 788548 h 823422"/>
                      <a:gd name="connsiteX3" fmla="*/ 291680 w 670938"/>
                      <a:gd name="connsiteY3" fmla="*/ 149912 h 823422"/>
                      <a:gd name="connsiteX4" fmla="*/ 19225 w 670938"/>
                      <a:gd name="connsiteY4" fmla="*/ 10415 h 823422"/>
                      <a:gd name="connsiteX5" fmla="*/ 219752 w 670938"/>
                      <a:gd name="connsiteY5" fmla="*/ 457242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219752" y="457242"/>
                        </a:moveTo>
                        <a:cubicBezTo>
                          <a:pt x="446435" y="668668"/>
                          <a:pt x="577214" y="790728"/>
                          <a:pt x="629525" y="823423"/>
                        </a:cubicBezTo>
                        <a:lnTo>
                          <a:pt x="670939" y="788548"/>
                        </a:lnTo>
                        <a:cubicBezTo>
                          <a:pt x="670939" y="788548"/>
                          <a:pt x="409381" y="261074"/>
                          <a:pt x="291680" y="149912"/>
                        </a:cubicBezTo>
                        <a:cubicBezTo>
                          <a:pt x="171800" y="38750"/>
                          <a:pt x="93333" y="-26639"/>
                          <a:pt x="19225" y="10415"/>
                        </a:cubicBezTo>
                        <a:cubicBezTo>
                          <a:pt x="-9111" y="40930"/>
                          <a:pt x="-43985" y="195685"/>
                          <a:pt x="219752" y="457242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71" name="Grafik 5">
                    <a:extLst>
                      <a:ext uri="{FF2B5EF4-FFF2-40B4-BE49-F238E27FC236}">
                        <a16:creationId xmlns:a16="http://schemas.microsoft.com/office/drawing/2014/main" id="{EB5D59D4-788A-48C3-8211-570A63E967BF}"/>
                      </a:ext>
                    </a:extLst>
                  </p:cNvPr>
                  <p:cNvGrpSpPr/>
                  <p:nvPr/>
                </p:nvGrpSpPr>
                <p:grpSpPr>
                  <a:xfrm>
                    <a:off x="10468669" y="91979"/>
                    <a:ext cx="2134946" cy="2159439"/>
                    <a:chOff x="10468669" y="91979"/>
                    <a:chExt cx="2134946" cy="2159439"/>
                  </a:xfrm>
                  <a:solidFill>
                    <a:srgbClr val="FFFFFF"/>
                  </a:solidFill>
                </p:grpSpPr>
                <p:sp>
                  <p:nvSpPr>
                    <p:cNvPr id="72" name="Freihandform: Form 188">
                      <a:extLst>
                        <a:ext uri="{FF2B5EF4-FFF2-40B4-BE49-F238E27FC236}">
                          <a16:creationId xmlns:a16="http://schemas.microsoft.com/office/drawing/2014/main" id="{12FABE64-CE90-4249-90A1-3A97C12F14D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8669" y="728333"/>
                      <a:ext cx="1020510" cy="415311"/>
                    </a:xfrm>
                    <a:custGeom>
                      <a:avLst/>
                      <a:gdLst>
                        <a:gd name="connsiteX0" fmla="*/ 1005253 w 1020510"/>
                        <a:gd name="connsiteY0" fmla="*/ 370222 h 370774"/>
                        <a:gd name="connsiteX1" fmla="*/ 1020511 w 1020510"/>
                        <a:gd name="connsiteY1" fmla="*/ 315731 h 370774"/>
                        <a:gd name="connsiteX2" fmla="*/ 314306 w 1020510"/>
                        <a:gd name="connsiteY2" fmla="*/ 12760 h 370774"/>
                        <a:gd name="connsiteX3" fmla="*/ 437 w 1020510"/>
                        <a:gd name="connsiteY3" fmla="*/ 65072 h 370774"/>
                        <a:gd name="connsiteX4" fmla="*/ 438546 w 1020510"/>
                        <a:gd name="connsiteY4" fmla="*/ 317911 h 370774"/>
                        <a:gd name="connsiteX5" fmla="*/ 1005253 w 1020510"/>
                        <a:gd name="connsiteY5" fmla="*/ 370222 h 3707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0774">
                          <a:moveTo>
                            <a:pt x="1005253" y="370222"/>
                          </a:moveTo>
                          <a:lnTo>
                            <a:pt x="1020511" y="315731"/>
                          </a:lnTo>
                          <a:cubicBezTo>
                            <a:pt x="1020511" y="315731"/>
                            <a:pt x="482138" y="32377"/>
                            <a:pt x="314306" y="12760"/>
                          </a:cubicBezTo>
                          <a:cubicBezTo>
                            <a:pt x="146473" y="-6856"/>
                            <a:pt x="39671" y="-13395"/>
                            <a:pt x="437" y="65072"/>
                          </a:cubicBezTo>
                          <a:cubicBezTo>
                            <a:pt x="-6102" y="108665"/>
                            <a:pt x="57108" y="261240"/>
                            <a:pt x="438546" y="317911"/>
                          </a:cubicBezTo>
                          <a:cubicBezTo>
                            <a:pt x="756774" y="352785"/>
                            <a:pt x="939864" y="374581"/>
                            <a:pt x="1005253" y="37022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3" name="Freihandform: Form 189">
                      <a:extLst>
                        <a:ext uri="{FF2B5EF4-FFF2-40B4-BE49-F238E27FC236}">
                          <a16:creationId xmlns:a16="http://schemas.microsoft.com/office/drawing/2014/main" id="{BF300DFE-EDB1-4659-BC29-C3014C17273F}"/>
                        </a:ext>
                      </a:extLst>
                    </p:cNvPr>
                    <p:cNvSpPr/>
                    <p:nvPr/>
                  </p:nvSpPr>
                  <p:spPr>
                    <a:xfrm rot="184551">
                      <a:off x="10473608" y="1098449"/>
                      <a:ext cx="1052768" cy="433246"/>
                    </a:xfrm>
                    <a:custGeom>
                      <a:avLst/>
                      <a:gdLst>
                        <a:gd name="connsiteX0" fmla="*/ 1052768 w 1052768"/>
                        <a:gd name="connsiteY0" fmla="*/ 84495 h 433246"/>
                        <a:gd name="connsiteX1" fmla="*/ 1046230 w 1052768"/>
                        <a:gd name="connsiteY1" fmla="*/ 6028 h 433246"/>
                        <a:gd name="connsiteX2" fmla="*/ 274635 w 1052768"/>
                        <a:gd name="connsiteY2" fmla="*/ 51800 h 433246"/>
                        <a:gd name="connsiteX3" fmla="*/ 0 w 1052768"/>
                        <a:gd name="connsiteY3" fmla="*/ 308998 h 433246"/>
                        <a:gd name="connsiteX4" fmla="*/ 503498 w 1052768"/>
                        <a:gd name="connsiteY4" fmla="*/ 363489 h 433246"/>
                        <a:gd name="connsiteX5" fmla="*/ 1052768 w 1052768"/>
                        <a:gd name="connsiteY5" fmla="*/ 84495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2768" h="433246">
                          <a:moveTo>
                            <a:pt x="1052768" y="84495"/>
                          </a:moveTo>
                          <a:lnTo>
                            <a:pt x="1046230" y="6028"/>
                          </a:lnTo>
                          <a:cubicBezTo>
                            <a:pt x="1046230" y="6028"/>
                            <a:pt x="438109" y="-24487"/>
                            <a:pt x="274635" y="51800"/>
                          </a:cubicBezTo>
                          <a:cubicBezTo>
                            <a:pt x="111162" y="130267"/>
                            <a:pt x="8719" y="186938"/>
                            <a:pt x="0" y="308998"/>
                          </a:cubicBezTo>
                          <a:cubicBezTo>
                            <a:pt x="10898" y="367849"/>
                            <a:pt x="126419" y="522603"/>
                            <a:pt x="503498" y="363489"/>
                          </a:cubicBezTo>
                          <a:cubicBezTo>
                            <a:pt x="815187" y="215274"/>
                            <a:pt x="993918" y="130267"/>
                            <a:pt x="1052768" y="84495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4" name="Freihandform: Form 190">
                      <a:extLst>
                        <a:ext uri="{FF2B5EF4-FFF2-40B4-BE49-F238E27FC236}">
                          <a16:creationId xmlns:a16="http://schemas.microsoft.com/office/drawing/2014/main" id="{54CD7C24-96D7-42E5-925E-CEEB44B7D0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9290" y="383058"/>
                      <a:ext cx="800989" cy="693531"/>
                    </a:xfrm>
                    <a:custGeom>
                      <a:avLst/>
                      <a:gdLst>
                        <a:gd name="connsiteX0" fmla="*/ 800989 w 800989"/>
                        <a:gd name="connsiteY0" fmla="*/ 649939 h 693531"/>
                        <a:gd name="connsiteX1" fmla="*/ 312749 w 800989"/>
                        <a:gd name="connsiteY1" fmla="*/ 100668 h 693531"/>
                        <a:gd name="connsiteX2" fmla="*/ 11958 w 800989"/>
                        <a:gd name="connsiteY2" fmla="*/ 22201 h 693531"/>
                        <a:gd name="connsiteX3" fmla="*/ 286593 w 800989"/>
                        <a:gd name="connsiteY3" fmla="*/ 421076 h 693531"/>
                        <a:gd name="connsiteX4" fmla="*/ 763935 w 800989"/>
                        <a:gd name="connsiteY4" fmla="*/ 693532 h 693531"/>
                        <a:gd name="connsiteX5" fmla="*/ 800989 w 800989"/>
                        <a:gd name="connsiteY5" fmla="*/ 649939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800989" y="649939"/>
                          </a:moveTo>
                          <a:cubicBezTo>
                            <a:pt x="800989" y="649939"/>
                            <a:pt x="452246" y="185674"/>
                            <a:pt x="312749" y="100668"/>
                          </a:cubicBezTo>
                          <a:cubicBezTo>
                            <a:pt x="173252" y="15662"/>
                            <a:pt x="81706" y="-30111"/>
                            <a:pt x="11958" y="22201"/>
                          </a:cubicBezTo>
                          <a:cubicBezTo>
                            <a:pt x="-14198" y="59255"/>
                            <a:pt x="-25096" y="218369"/>
                            <a:pt x="286593" y="421076"/>
                          </a:cubicBezTo>
                          <a:cubicBezTo>
                            <a:pt x="552510" y="580190"/>
                            <a:pt x="705085" y="673915"/>
                            <a:pt x="763935" y="693532"/>
                          </a:cubicBezTo>
                          <a:lnTo>
                            <a:pt x="800989" y="64993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5" name="Freihandform: Form 191">
                      <a:extLst>
                        <a:ext uri="{FF2B5EF4-FFF2-40B4-BE49-F238E27FC236}">
                          <a16:creationId xmlns:a16="http://schemas.microsoft.com/office/drawing/2014/main" id="{DD4768E7-8059-4C27-BE21-677115EDA6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0345" y="91979"/>
                      <a:ext cx="304507" cy="974301"/>
                    </a:xfrm>
                    <a:custGeom>
                      <a:avLst/>
                      <a:gdLst>
                        <a:gd name="connsiteX0" fmla="*/ 132060 w 274679"/>
                        <a:gd name="connsiteY0" fmla="*/ 974301 h 974301"/>
                        <a:gd name="connsiteX1" fmla="*/ 188730 w 274679"/>
                        <a:gd name="connsiteY1" fmla="*/ 974301 h 974301"/>
                        <a:gd name="connsiteX2" fmla="*/ 269377 w 274679"/>
                        <a:gd name="connsiteY2" fmla="*/ 270276 h 974301"/>
                        <a:gd name="connsiteX3" fmla="*/ 127700 w 274679"/>
                        <a:gd name="connsiteY3" fmla="*/ 0 h 974301"/>
                        <a:gd name="connsiteX4" fmla="*/ 14359 w 274679"/>
                        <a:gd name="connsiteY4" fmla="*/ 451186 h 974301"/>
                        <a:gd name="connsiteX5" fmla="*/ 132060 w 274679"/>
                        <a:gd name="connsiteY5" fmla="*/ 974301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32060" y="974301"/>
                          </a:moveTo>
                          <a:lnTo>
                            <a:pt x="188730" y="974301"/>
                          </a:lnTo>
                          <a:cubicBezTo>
                            <a:pt x="188730" y="974301"/>
                            <a:pt x="299892" y="425031"/>
                            <a:pt x="269377" y="270276"/>
                          </a:cubicBezTo>
                          <a:cubicBezTo>
                            <a:pt x="238862" y="115521"/>
                            <a:pt x="212707" y="17437"/>
                            <a:pt x="127700" y="0"/>
                          </a:cubicBezTo>
                          <a:cubicBezTo>
                            <a:pt x="84107" y="4359"/>
                            <a:pt x="-42312" y="95904"/>
                            <a:pt x="14359" y="451186"/>
                          </a:cubicBezTo>
                          <a:cubicBezTo>
                            <a:pt x="75389" y="749798"/>
                            <a:pt x="108084" y="917631"/>
                            <a:pt x="132060" y="974301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6" name="Freihandform: Form 192">
                      <a:extLst>
                        <a:ext uri="{FF2B5EF4-FFF2-40B4-BE49-F238E27FC236}">
                          <a16:creationId xmlns:a16="http://schemas.microsoft.com/office/drawing/2014/main" id="{F54DF6F8-8C4F-410B-A3D7-E73C7459B65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71041" y="186511"/>
                      <a:ext cx="462825" cy="908535"/>
                    </a:xfrm>
                    <a:custGeom>
                      <a:avLst/>
                      <a:gdLst>
                        <a:gd name="connsiteX0" fmla="*/ 410514 w 462825"/>
                        <a:gd name="connsiteY0" fmla="*/ 908536 h 908535"/>
                        <a:gd name="connsiteX1" fmla="*/ 462826 w 462825"/>
                        <a:gd name="connsiteY1" fmla="*/ 888919 h 908535"/>
                        <a:gd name="connsiteX2" fmla="*/ 281915 w 462825"/>
                        <a:gd name="connsiteY2" fmla="*/ 202331 h 908535"/>
                        <a:gd name="connsiteX3" fmla="*/ 53052 w 462825"/>
                        <a:gd name="connsiteY3" fmla="*/ 1803 h 908535"/>
                        <a:gd name="connsiteX4" fmla="*/ 114082 w 462825"/>
                        <a:gd name="connsiteY4" fmla="*/ 463888 h 908535"/>
                        <a:gd name="connsiteX5" fmla="*/ 410514 w 462825"/>
                        <a:gd name="connsiteY5" fmla="*/ 908536 h 9085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8535">
                          <a:moveTo>
                            <a:pt x="410514" y="908536"/>
                          </a:moveTo>
                          <a:lnTo>
                            <a:pt x="462826" y="888919"/>
                          </a:lnTo>
                          <a:cubicBezTo>
                            <a:pt x="462826" y="888919"/>
                            <a:pt x="366921" y="335289"/>
                            <a:pt x="281915" y="202331"/>
                          </a:cubicBezTo>
                          <a:cubicBezTo>
                            <a:pt x="196909" y="69372"/>
                            <a:pt x="138059" y="-13454"/>
                            <a:pt x="53052" y="1803"/>
                          </a:cubicBezTo>
                          <a:cubicBezTo>
                            <a:pt x="13819" y="21420"/>
                            <a:pt x="-69008" y="154378"/>
                            <a:pt x="114082" y="463888"/>
                          </a:cubicBezTo>
                          <a:cubicBezTo>
                            <a:pt x="275376" y="718906"/>
                            <a:pt x="366921" y="864943"/>
                            <a:pt x="410514" y="90853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7" name="Freihandform: Form 193">
                      <a:extLst>
                        <a:ext uri="{FF2B5EF4-FFF2-40B4-BE49-F238E27FC236}">
                          <a16:creationId xmlns:a16="http://schemas.microsoft.com/office/drawing/2014/main" id="{13D28E75-67B9-4230-B47D-1015C745867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2098" y="467391"/>
                      <a:ext cx="784672" cy="662868"/>
                    </a:xfrm>
                    <a:custGeom>
                      <a:avLst/>
                      <a:gdLst>
                        <a:gd name="connsiteX0" fmla="*/ 344384 w 784672"/>
                        <a:gd name="connsiteY0" fmla="*/ 209502 h 662868"/>
                        <a:gd name="connsiteX1" fmla="*/ 0 w 784672"/>
                        <a:gd name="connsiteY1" fmla="*/ 617096 h 662868"/>
                        <a:gd name="connsiteX2" fmla="*/ 34874 w 784672"/>
                        <a:gd name="connsiteY2" fmla="*/ 662868 h 662868"/>
                        <a:gd name="connsiteX3" fmla="*/ 645175 w 784672"/>
                        <a:gd name="connsiteY3" fmla="*/ 301047 h 662868"/>
                        <a:gd name="connsiteX4" fmla="*/ 773774 w 784672"/>
                        <a:gd name="connsiteY4" fmla="*/ 26412 h 662868"/>
                        <a:gd name="connsiteX5" fmla="*/ 344384 w 784672"/>
                        <a:gd name="connsiteY5" fmla="*/ 209502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344384" y="209502"/>
                          </a:moveTo>
                          <a:cubicBezTo>
                            <a:pt x="146036" y="436185"/>
                            <a:pt x="30515" y="564784"/>
                            <a:pt x="0" y="617096"/>
                          </a:cubicBezTo>
                          <a:lnTo>
                            <a:pt x="34874" y="662868"/>
                          </a:lnTo>
                          <a:cubicBezTo>
                            <a:pt x="34874" y="662868"/>
                            <a:pt x="540552" y="418748"/>
                            <a:pt x="645175" y="301047"/>
                          </a:cubicBezTo>
                          <a:cubicBezTo>
                            <a:pt x="749798" y="183346"/>
                            <a:pt x="810828" y="102699"/>
                            <a:pt x="773774" y="26412"/>
                          </a:cubicBezTo>
                          <a:cubicBezTo>
                            <a:pt x="741079" y="-8463"/>
                            <a:pt x="590684" y="-52055"/>
                            <a:pt x="344384" y="20950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8" name="Freihandform: Form 194">
                      <a:extLst>
                        <a:ext uri="{FF2B5EF4-FFF2-40B4-BE49-F238E27FC236}">
                          <a16:creationId xmlns:a16="http://schemas.microsoft.com/office/drawing/2014/main" id="{DD3EC4B1-3F24-4BCC-B941-168A97F5897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1862" y="211652"/>
                      <a:ext cx="424485" cy="912068"/>
                    </a:xfrm>
                    <a:custGeom>
                      <a:avLst/>
                      <a:gdLst>
                        <a:gd name="connsiteX0" fmla="*/ 106803 w 424485"/>
                        <a:gd name="connsiteY0" fmla="*/ 380235 h 912068"/>
                        <a:gd name="connsiteX1" fmla="*/ 0 w 424485"/>
                        <a:gd name="connsiteY1" fmla="*/ 894631 h 912068"/>
                        <a:gd name="connsiteX2" fmla="*/ 47952 w 424485"/>
                        <a:gd name="connsiteY2" fmla="*/ 912069 h 912068"/>
                        <a:gd name="connsiteX3" fmla="*/ 394516 w 424485"/>
                        <a:gd name="connsiteY3" fmla="*/ 293049 h 912068"/>
                        <a:gd name="connsiteX4" fmla="*/ 379258 w 424485"/>
                        <a:gd name="connsiteY4" fmla="*/ 977 h 912068"/>
                        <a:gd name="connsiteX5" fmla="*/ 106803 w 424485"/>
                        <a:gd name="connsiteY5" fmla="*/ 380235 h 9120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68">
                          <a:moveTo>
                            <a:pt x="106803" y="380235"/>
                          </a:moveTo>
                          <a:cubicBezTo>
                            <a:pt x="41413" y="670128"/>
                            <a:pt x="2180" y="835781"/>
                            <a:pt x="0" y="894631"/>
                          </a:cubicBezTo>
                          <a:lnTo>
                            <a:pt x="47952" y="912069"/>
                          </a:lnTo>
                          <a:cubicBezTo>
                            <a:pt x="47952" y="912069"/>
                            <a:pt x="359641" y="445625"/>
                            <a:pt x="394516" y="293049"/>
                          </a:cubicBezTo>
                          <a:cubicBezTo>
                            <a:pt x="429390" y="142654"/>
                            <a:pt x="444647" y="44570"/>
                            <a:pt x="379258" y="977"/>
                          </a:cubicBezTo>
                          <a:cubicBezTo>
                            <a:pt x="342204" y="-7742"/>
                            <a:pt x="198348" y="35851"/>
                            <a:pt x="106803" y="380235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9" name="Freihandform: Form 195">
                      <a:extLst>
                        <a:ext uri="{FF2B5EF4-FFF2-40B4-BE49-F238E27FC236}">
                          <a16:creationId xmlns:a16="http://schemas.microsoft.com/office/drawing/2014/main" id="{920A2C19-802C-485D-AA62-3E1C96B573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83105" y="1175700"/>
                      <a:ext cx="1020510" cy="371374"/>
                    </a:xfrm>
                    <a:custGeom>
                      <a:avLst/>
                      <a:gdLst>
                        <a:gd name="connsiteX0" fmla="*/ 15258 w 1020510"/>
                        <a:gd name="connsiteY0" fmla="*/ 1153 h 371374"/>
                        <a:gd name="connsiteX1" fmla="*/ 0 w 1020510"/>
                        <a:gd name="connsiteY1" fmla="*/ 55644 h 371374"/>
                        <a:gd name="connsiteX2" fmla="*/ 706205 w 1020510"/>
                        <a:gd name="connsiteY2" fmla="*/ 358615 h 371374"/>
                        <a:gd name="connsiteX3" fmla="*/ 1020074 w 1020510"/>
                        <a:gd name="connsiteY3" fmla="*/ 306303 h 371374"/>
                        <a:gd name="connsiteX4" fmla="*/ 581965 w 1020510"/>
                        <a:gd name="connsiteY4" fmla="*/ 53464 h 371374"/>
                        <a:gd name="connsiteX5" fmla="*/ 15258 w 1020510"/>
                        <a:gd name="connsiteY5" fmla="*/ 1153 h 3713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1374">
                          <a:moveTo>
                            <a:pt x="15258" y="1153"/>
                          </a:moveTo>
                          <a:lnTo>
                            <a:pt x="0" y="55644"/>
                          </a:lnTo>
                          <a:cubicBezTo>
                            <a:pt x="0" y="55644"/>
                            <a:pt x="538372" y="338998"/>
                            <a:pt x="706205" y="358615"/>
                          </a:cubicBezTo>
                          <a:cubicBezTo>
                            <a:pt x="874038" y="378231"/>
                            <a:pt x="980840" y="384770"/>
                            <a:pt x="1020074" y="306303"/>
                          </a:cubicBezTo>
                          <a:cubicBezTo>
                            <a:pt x="1026613" y="262710"/>
                            <a:pt x="963403" y="110135"/>
                            <a:pt x="581965" y="53464"/>
                          </a:cubicBezTo>
                          <a:cubicBezTo>
                            <a:pt x="263737" y="16410"/>
                            <a:pt x="80647" y="-5386"/>
                            <a:pt x="15258" y="115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0" name="Freihandform: Form 196">
                      <a:extLst>
                        <a:ext uri="{FF2B5EF4-FFF2-40B4-BE49-F238E27FC236}">
                          <a16:creationId xmlns:a16="http://schemas.microsoft.com/office/drawing/2014/main" id="{87C32F63-B097-4A07-B9AF-C8F2D847CF03}"/>
                        </a:ext>
                      </a:extLst>
                    </p:cNvPr>
                    <p:cNvSpPr/>
                    <p:nvPr/>
                  </p:nvSpPr>
                  <p:spPr>
                    <a:xfrm rot="173298">
                      <a:off x="11535888" y="876439"/>
                      <a:ext cx="1050588" cy="331192"/>
                    </a:xfrm>
                    <a:custGeom>
                      <a:avLst/>
                      <a:gdLst>
                        <a:gd name="connsiteX0" fmla="*/ 0 w 1050588"/>
                        <a:gd name="connsiteY0" fmla="*/ 348751 h 433246"/>
                        <a:gd name="connsiteX1" fmla="*/ 6539 w 1050588"/>
                        <a:gd name="connsiteY1" fmla="*/ 427218 h 433246"/>
                        <a:gd name="connsiteX2" fmla="*/ 778133 w 1050588"/>
                        <a:gd name="connsiteY2" fmla="*/ 381446 h 433246"/>
                        <a:gd name="connsiteX3" fmla="*/ 1050589 w 1050588"/>
                        <a:gd name="connsiteY3" fmla="*/ 124248 h 433246"/>
                        <a:gd name="connsiteX4" fmla="*/ 547091 w 1050588"/>
                        <a:gd name="connsiteY4" fmla="*/ 69757 h 433246"/>
                        <a:gd name="connsiteX5" fmla="*/ 0 w 1050588"/>
                        <a:gd name="connsiteY5" fmla="*/ 348751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0588" h="433246">
                          <a:moveTo>
                            <a:pt x="0" y="348751"/>
                          </a:moveTo>
                          <a:lnTo>
                            <a:pt x="6539" y="427218"/>
                          </a:lnTo>
                          <a:cubicBezTo>
                            <a:pt x="6539" y="427218"/>
                            <a:pt x="614660" y="457733"/>
                            <a:pt x="778133" y="381446"/>
                          </a:cubicBezTo>
                          <a:cubicBezTo>
                            <a:pt x="941607" y="302979"/>
                            <a:pt x="1044050" y="246308"/>
                            <a:pt x="1050589" y="124248"/>
                          </a:cubicBezTo>
                          <a:cubicBezTo>
                            <a:pt x="1039691" y="65397"/>
                            <a:pt x="924169" y="-89357"/>
                            <a:pt x="547091" y="69757"/>
                          </a:cubicBezTo>
                          <a:cubicBezTo>
                            <a:pt x="235402" y="217972"/>
                            <a:pt x="56671" y="300799"/>
                            <a:pt x="0" y="3487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1" name="Freihandform: Form 197">
                      <a:extLst>
                        <a:ext uri="{FF2B5EF4-FFF2-40B4-BE49-F238E27FC236}">
                          <a16:creationId xmlns:a16="http://schemas.microsoft.com/office/drawing/2014/main" id="{132FD36F-0079-4A06-9A4A-E7B3C6D704A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56950" y="1233524"/>
                      <a:ext cx="800989" cy="693531"/>
                    </a:xfrm>
                    <a:custGeom>
                      <a:avLst/>
                      <a:gdLst>
                        <a:gd name="connsiteX0" fmla="*/ 0 w 800989"/>
                        <a:gd name="connsiteY0" fmla="*/ 43593 h 693531"/>
                        <a:gd name="connsiteX1" fmla="*/ 488240 w 800989"/>
                        <a:gd name="connsiteY1" fmla="*/ 592863 h 693531"/>
                        <a:gd name="connsiteX2" fmla="*/ 789032 w 800989"/>
                        <a:gd name="connsiteY2" fmla="*/ 671331 h 693531"/>
                        <a:gd name="connsiteX3" fmla="*/ 514396 w 800989"/>
                        <a:gd name="connsiteY3" fmla="*/ 272456 h 693531"/>
                        <a:gd name="connsiteX4" fmla="*/ 37054 w 800989"/>
                        <a:gd name="connsiteY4" fmla="*/ 0 h 693531"/>
                        <a:gd name="connsiteX5" fmla="*/ 0 w 800989"/>
                        <a:gd name="connsiteY5" fmla="*/ 43593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0" y="43593"/>
                          </a:moveTo>
                          <a:cubicBezTo>
                            <a:pt x="0" y="43593"/>
                            <a:pt x="348743" y="507857"/>
                            <a:pt x="488240" y="592863"/>
                          </a:cubicBezTo>
                          <a:cubicBezTo>
                            <a:pt x="627738" y="677870"/>
                            <a:pt x="719283" y="723642"/>
                            <a:pt x="789032" y="671331"/>
                          </a:cubicBezTo>
                          <a:cubicBezTo>
                            <a:pt x="815187" y="634277"/>
                            <a:pt x="826085" y="475163"/>
                            <a:pt x="514396" y="272456"/>
                          </a:cubicBezTo>
                          <a:cubicBezTo>
                            <a:pt x="248480" y="113342"/>
                            <a:pt x="95904" y="21796"/>
                            <a:pt x="37054" y="0"/>
                          </a:cubicBezTo>
                          <a:lnTo>
                            <a:pt x="0" y="4359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2" name="Freihandform: Form 198">
                      <a:extLst>
                        <a:ext uri="{FF2B5EF4-FFF2-40B4-BE49-F238E27FC236}">
                          <a16:creationId xmlns:a16="http://schemas.microsoft.com/office/drawing/2014/main" id="{62FCEABD-EE7C-4352-854D-0886BC63B9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5096" y="1277117"/>
                      <a:ext cx="274679" cy="974301"/>
                    </a:xfrm>
                    <a:custGeom>
                      <a:avLst/>
                      <a:gdLst>
                        <a:gd name="connsiteX0" fmla="*/ 142620 w 274679"/>
                        <a:gd name="connsiteY0" fmla="*/ 0 h 974301"/>
                        <a:gd name="connsiteX1" fmla="*/ 85949 w 274679"/>
                        <a:gd name="connsiteY1" fmla="*/ 0 h 974301"/>
                        <a:gd name="connsiteX2" fmla="*/ 5302 w 274679"/>
                        <a:gd name="connsiteY2" fmla="*/ 704025 h 974301"/>
                        <a:gd name="connsiteX3" fmla="*/ 146979 w 274679"/>
                        <a:gd name="connsiteY3" fmla="*/ 974301 h 974301"/>
                        <a:gd name="connsiteX4" fmla="*/ 260321 w 274679"/>
                        <a:gd name="connsiteY4" fmla="*/ 523115 h 974301"/>
                        <a:gd name="connsiteX5" fmla="*/ 142620 w 274679"/>
                        <a:gd name="connsiteY5" fmla="*/ 0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42620" y="0"/>
                          </a:moveTo>
                          <a:lnTo>
                            <a:pt x="85949" y="0"/>
                          </a:lnTo>
                          <a:cubicBezTo>
                            <a:pt x="85949" y="0"/>
                            <a:pt x="-25213" y="549270"/>
                            <a:pt x="5302" y="704025"/>
                          </a:cubicBezTo>
                          <a:cubicBezTo>
                            <a:pt x="35817" y="858780"/>
                            <a:pt x="61973" y="956864"/>
                            <a:pt x="146979" y="974301"/>
                          </a:cubicBezTo>
                          <a:cubicBezTo>
                            <a:pt x="190572" y="969942"/>
                            <a:pt x="316991" y="878397"/>
                            <a:pt x="260321" y="523115"/>
                          </a:cubicBezTo>
                          <a:cubicBezTo>
                            <a:pt x="201470" y="226683"/>
                            <a:pt x="166596" y="56671"/>
                            <a:pt x="142620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3" name="Freihandform: Form 199">
                      <a:extLst>
                        <a:ext uri="{FF2B5EF4-FFF2-40B4-BE49-F238E27FC236}">
                          <a16:creationId xmlns:a16="http://schemas.microsoft.com/office/drawing/2014/main" id="{83A2A145-ED73-4AD8-BE52-6F1245C2D1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22524" y="1256269"/>
                      <a:ext cx="462825" cy="906861"/>
                    </a:xfrm>
                    <a:custGeom>
                      <a:avLst/>
                      <a:gdLst>
                        <a:gd name="connsiteX0" fmla="*/ 52311 w 462825"/>
                        <a:gd name="connsiteY0" fmla="*/ 0 h 906861"/>
                        <a:gd name="connsiteX1" fmla="*/ 0 w 462825"/>
                        <a:gd name="connsiteY1" fmla="*/ 19617 h 906861"/>
                        <a:gd name="connsiteX2" fmla="*/ 180911 w 462825"/>
                        <a:gd name="connsiteY2" fmla="*/ 706205 h 906861"/>
                        <a:gd name="connsiteX3" fmla="*/ 409773 w 462825"/>
                        <a:gd name="connsiteY3" fmla="*/ 904553 h 906861"/>
                        <a:gd name="connsiteX4" fmla="*/ 348743 w 462825"/>
                        <a:gd name="connsiteY4" fmla="*/ 442468 h 906861"/>
                        <a:gd name="connsiteX5" fmla="*/ 52311 w 462825"/>
                        <a:gd name="connsiteY5" fmla="*/ 0 h 90686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6861">
                          <a:moveTo>
                            <a:pt x="52311" y="0"/>
                          </a:moveTo>
                          <a:lnTo>
                            <a:pt x="0" y="19617"/>
                          </a:lnTo>
                          <a:cubicBezTo>
                            <a:pt x="0" y="19617"/>
                            <a:pt x="95904" y="573247"/>
                            <a:pt x="180911" y="706205"/>
                          </a:cubicBezTo>
                          <a:cubicBezTo>
                            <a:pt x="265917" y="839163"/>
                            <a:pt x="326947" y="921990"/>
                            <a:pt x="409773" y="904553"/>
                          </a:cubicBezTo>
                          <a:cubicBezTo>
                            <a:pt x="449007" y="884936"/>
                            <a:pt x="531833" y="751978"/>
                            <a:pt x="348743" y="442468"/>
                          </a:cubicBezTo>
                          <a:cubicBezTo>
                            <a:pt x="189629" y="189629"/>
                            <a:pt x="95904" y="43593"/>
                            <a:pt x="52311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4" name="Freihandform: Form 200">
                      <a:extLst>
                        <a:ext uri="{FF2B5EF4-FFF2-40B4-BE49-F238E27FC236}">
                          <a16:creationId xmlns:a16="http://schemas.microsoft.com/office/drawing/2014/main" id="{605FE578-2136-45E8-ACBD-38874AE5520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50217" y="1226985"/>
                      <a:ext cx="784672" cy="662868"/>
                    </a:xfrm>
                    <a:custGeom>
                      <a:avLst/>
                      <a:gdLst>
                        <a:gd name="connsiteX0" fmla="*/ 440288 w 784672"/>
                        <a:gd name="connsiteY0" fmla="*/ 453366 h 662868"/>
                        <a:gd name="connsiteX1" fmla="*/ 784672 w 784672"/>
                        <a:gd name="connsiteY1" fmla="*/ 45773 h 662868"/>
                        <a:gd name="connsiteX2" fmla="*/ 749798 w 784672"/>
                        <a:gd name="connsiteY2" fmla="*/ 0 h 662868"/>
                        <a:gd name="connsiteX3" fmla="*/ 139497 w 784672"/>
                        <a:gd name="connsiteY3" fmla="*/ 361821 h 662868"/>
                        <a:gd name="connsiteX4" fmla="*/ 10898 w 784672"/>
                        <a:gd name="connsiteY4" fmla="*/ 636456 h 662868"/>
                        <a:gd name="connsiteX5" fmla="*/ 440288 w 784672"/>
                        <a:gd name="connsiteY5" fmla="*/ 453366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440288" y="453366"/>
                          </a:moveTo>
                          <a:cubicBezTo>
                            <a:pt x="638636" y="228863"/>
                            <a:pt x="754157" y="100264"/>
                            <a:pt x="784672" y="45773"/>
                          </a:cubicBezTo>
                          <a:lnTo>
                            <a:pt x="749798" y="0"/>
                          </a:lnTo>
                          <a:cubicBezTo>
                            <a:pt x="749798" y="0"/>
                            <a:pt x="244120" y="244120"/>
                            <a:pt x="139497" y="361821"/>
                          </a:cubicBezTo>
                          <a:cubicBezTo>
                            <a:pt x="34874" y="479522"/>
                            <a:pt x="-26156" y="560169"/>
                            <a:pt x="10898" y="636456"/>
                          </a:cubicBezTo>
                          <a:cubicBezTo>
                            <a:pt x="41413" y="671331"/>
                            <a:pt x="191809" y="714924"/>
                            <a:pt x="440288" y="45336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5" name="Freihandform: Form 201">
                      <a:extLst>
                        <a:ext uri="{FF2B5EF4-FFF2-40B4-BE49-F238E27FC236}">
                          <a16:creationId xmlns:a16="http://schemas.microsoft.com/office/drawing/2014/main" id="{3FC875BB-C179-46BF-AAF0-96A92963C0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51817" y="1240063"/>
                      <a:ext cx="424485" cy="912038"/>
                    </a:xfrm>
                    <a:custGeom>
                      <a:avLst/>
                      <a:gdLst>
                        <a:gd name="connsiteX0" fmla="*/ 317683 w 424485"/>
                        <a:gd name="connsiteY0" fmla="*/ 531833 h 912038"/>
                        <a:gd name="connsiteX1" fmla="*/ 424486 w 424485"/>
                        <a:gd name="connsiteY1" fmla="*/ 17437 h 912038"/>
                        <a:gd name="connsiteX2" fmla="*/ 376534 w 424485"/>
                        <a:gd name="connsiteY2" fmla="*/ 0 h 912038"/>
                        <a:gd name="connsiteX3" fmla="*/ 29970 w 424485"/>
                        <a:gd name="connsiteY3" fmla="*/ 619019 h 912038"/>
                        <a:gd name="connsiteX4" fmla="*/ 45228 w 424485"/>
                        <a:gd name="connsiteY4" fmla="*/ 911092 h 912038"/>
                        <a:gd name="connsiteX5" fmla="*/ 317683 w 424485"/>
                        <a:gd name="connsiteY5" fmla="*/ 531833 h 9120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38">
                          <a:moveTo>
                            <a:pt x="317683" y="531833"/>
                          </a:moveTo>
                          <a:cubicBezTo>
                            <a:pt x="383073" y="241941"/>
                            <a:pt x="422306" y="76288"/>
                            <a:pt x="424486" y="17437"/>
                          </a:cubicBezTo>
                          <a:lnTo>
                            <a:pt x="376534" y="0"/>
                          </a:lnTo>
                          <a:cubicBezTo>
                            <a:pt x="376534" y="0"/>
                            <a:pt x="64844" y="466444"/>
                            <a:pt x="29970" y="619019"/>
                          </a:cubicBezTo>
                          <a:cubicBezTo>
                            <a:pt x="-4904" y="769415"/>
                            <a:pt x="-20162" y="867499"/>
                            <a:pt x="45228" y="911092"/>
                          </a:cubicBezTo>
                          <a:cubicBezTo>
                            <a:pt x="82282" y="919810"/>
                            <a:pt x="226138" y="874038"/>
                            <a:pt x="317683" y="53183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56" name="Freihandform: Form 172">
                  <a:extLst>
                    <a:ext uri="{FF2B5EF4-FFF2-40B4-BE49-F238E27FC236}">
                      <a16:creationId xmlns:a16="http://schemas.microsoft.com/office/drawing/2014/main" id="{10D32005-EC8F-4863-84B4-FEBFFB7BFE7D}"/>
                    </a:ext>
                  </a:extLst>
                </p:cNvPr>
                <p:cNvSpPr/>
                <p:nvPr/>
              </p:nvSpPr>
              <p:spPr>
                <a:xfrm>
                  <a:off x="11282314" y="978505"/>
                  <a:ext cx="414132" cy="396695"/>
                </a:xfrm>
                <a:custGeom>
                  <a:avLst/>
                  <a:gdLst>
                    <a:gd name="connsiteX0" fmla="*/ 414133 w 414132"/>
                    <a:gd name="connsiteY0" fmla="*/ 198348 h 396695"/>
                    <a:gd name="connsiteX1" fmla="*/ 207066 w 414132"/>
                    <a:gd name="connsiteY1" fmla="*/ 396695 h 396695"/>
                    <a:gd name="connsiteX2" fmla="*/ 0 w 414132"/>
                    <a:gd name="connsiteY2" fmla="*/ 198348 h 396695"/>
                    <a:gd name="connsiteX3" fmla="*/ 207066 w 414132"/>
                    <a:gd name="connsiteY3" fmla="*/ 0 h 396695"/>
                    <a:gd name="connsiteX4" fmla="*/ 414133 w 414132"/>
                    <a:gd name="connsiteY4" fmla="*/ 198348 h 396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4132" h="396695">
                      <a:moveTo>
                        <a:pt x="414133" y="198348"/>
                      </a:moveTo>
                      <a:cubicBezTo>
                        <a:pt x="414133" y="307330"/>
                        <a:pt x="322587" y="396695"/>
                        <a:pt x="207066" y="396695"/>
                      </a:cubicBezTo>
                      <a:cubicBezTo>
                        <a:pt x="93725" y="396695"/>
                        <a:pt x="0" y="307330"/>
                        <a:pt x="0" y="198348"/>
                      </a:cubicBezTo>
                      <a:cubicBezTo>
                        <a:pt x="0" y="89365"/>
                        <a:pt x="91545" y="0"/>
                        <a:pt x="207066" y="0"/>
                      </a:cubicBezTo>
                      <a:cubicBezTo>
                        <a:pt x="320408" y="0"/>
                        <a:pt x="414133" y="89365"/>
                        <a:pt x="414133" y="198348"/>
                      </a:cubicBezTo>
                      <a:close/>
                    </a:path>
                  </a:pathLst>
                </a:custGeom>
                <a:solidFill>
                  <a:srgbClr val="FFBB00"/>
                </a:solidFill>
                <a:ln w="2177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4" name="Ellipse 170">
                <a:extLst>
                  <a:ext uri="{FF2B5EF4-FFF2-40B4-BE49-F238E27FC236}">
                    <a16:creationId xmlns:a16="http://schemas.microsoft.com/office/drawing/2014/main" id="{D72486BD-3912-46A4-86DB-08614A5D2C56}"/>
                  </a:ext>
                </a:extLst>
              </p:cNvPr>
              <p:cNvSpPr/>
              <p:nvPr/>
            </p:nvSpPr>
            <p:spPr bwMode="gray">
              <a:xfrm>
                <a:off x="11227609" y="960958"/>
                <a:ext cx="403666" cy="382238"/>
              </a:xfrm>
              <a:prstGeom prst="ellipse">
                <a:avLst/>
              </a:prstGeom>
              <a:solidFill>
                <a:srgbClr val="FFD066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0000"/>
                  </a:lnSpc>
                </a:pPr>
                <a:endParaRPr lang="de-DE" sz="1600">
                  <a:solidFill>
                    <a:srgbClr val="FFD066"/>
                  </a:solidFill>
                </a:endParaRPr>
              </a:p>
            </p:txBody>
          </p:sp>
        </p:grpSp>
        <p:grpSp>
          <p:nvGrpSpPr>
            <p:cNvPr id="13" name="Gruppieren 168">
              <a:extLst>
                <a:ext uri="{FF2B5EF4-FFF2-40B4-BE49-F238E27FC236}">
                  <a16:creationId xmlns:a16="http://schemas.microsoft.com/office/drawing/2014/main" id="{49FEF36E-D4C1-453A-89A3-09F892E5EA65}"/>
                </a:ext>
              </a:extLst>
            </p:cNvPr>
            <p:cNvGrpSpPr/>
            <p:nvPr/>
          </p:nvGrpSpPr>
          <p:grpSpPr>
            <a:xfrm>
              <a:off x="10943437" y="334624"/>
              <a:ext cx="702670" cy="712587"/>
              <a:chOff x="10366017" y="30973"/>
              <a:chExt cx="2246316" cy="2278019"/>
            </a:xfrm>
          </p:grpSpPr>
          <p:grpSp>
            <p:nvGrpSpPr>
              <p:cNvPr id="14" name="Grafik 5">
                <a:extLst>
                  <a:ext uri="{FF2B5EF4-FFF2-40B4-BE49-F238E27FC236}">
                    <a16:creationId xmlns:a16="http://schemas.microsoft.com/office/drawing/2014/main" id="{94196336-3D74-490E-BB94-01BF5A947506}"/>
                  </a:ext>
                </a:extLst>
              </p:cNvPr>
              <p:cNvGrpSpPr/>
              <p:nvPr/>
            </p:nvGrpSpPr>
            <p:grpSpPr>
              <a:xfrm>
                <a:off x="10366017" y="30973"/>
                <a:ext cx="2246316" cy="2278019"/>
                <a:chOff x="10396141" y="22604"/>
                <a:chExt cx="2246316" cy="2278019"/>
              </a:xfrm>
            </p:grpSpPr>
            <p:grpSp>
              <p:nvGrpSpPr>
                <p:cNvPr id="18" name="Grafik 5">
                  <a:extLst>
                    <a:ext uri="{FF2B5EF4-FFF2-40B4-BE49-F238E27FC236}">
                      <a16:creationId xmlns:a16="http://schemas.microsoft.com/office/drawing/2014/main" id="{2785D0C1-CDA2-4788-9DE4-35EE0A090704}"/>
                    </a:ext>
                  </a:extLst>
                </p:cNvPr>
                <p:cNvGrpSpPr/>
                <p:nvPr/>
              </p:nvGrpSpPr>
              <p:grpSpPr>
                <a:xfrm>
                  <a:off x="10396141" y="22604"/>
                  <a:ext cx="2246316" cy="2278019"/>
                  <a:chOff x="10396141" y="22604"/>
                  <a:chExt cx="2246316" cy="2278019"/>
                </a:xfrm>
              </p:grpSpPr>
              <p:sp>
                <p:nvSpPr>
                  <p:cNvPr id="20" name="Freihandform: Form 173">
                    <a:extLst>
                      <a:ext uri="{FF2B5EF4-FFF2-40B4-BE49-F238E27FC236}">
                        <a16:creationId xmlns:a16="http://schemas.microsoft.com/office/drawing/2014/main" id="{E0879FFA-8FD4-4852-9F08-86DFA2DAABB4}"/>
                      </a:ext>
                    </a:extLst>
                  </p:cNvPr>
                  <p:cNvSpPr/>
                  <p:nvPr/>
                </p:nvSpPr>
                <p:spPr>
                  <a:xfrm>
                    <a:off x="11561309" y="346257"/>
                    <a:ext cx="822081" cy="810979"/>
                  </a:xfrm>
                  <a:custGeom>
                    <a:avLst/>
                    <a:gdLst>
                      <a:gd name="connsiteX0" fmla="*/ 0 w 822081"/>
                      <a:gd name="connsiteY0" fmla="*/ 769566 h 810979"/>
                      <a:gd name="connsiteX1" fmla="*/ 41413 w 822081"/>
                      <a:gd name="connsiteY1" fmla="*/ 810980 h 810979"/>
                      <a:gd name="connsiteX2" fmla="*/ 686588 w 822081"/>
                      <a:gd name="connsiteY2" fmla="*/ 329278 h 810979"/>
                      <a:gd name="connsiteX3" fmla="*/ 804289 w 822081"/>
                      <a:gd name="connsiteY3" fmla="*/ 15409 h 810979"/>
                      <a:gd name="connsiteX4" fmla="*/ 344384 w 822081"/>
                      <a:gd name="connsiteY4" fmla="*/ 279146 h 810979"/>
                      <a:gd name="connsiteX5" fmla="*/ 0 w 822081"/>
                      <a:gd name="connsiteY5" fmla="*/ 769566 h 8109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10979">
                        <a:moveTo>
                          <a:pt x="0" y="769566"/>
                        </a:moveTo>
                        <a:lnTo>
                          <a:pt x="41413" y="810980"/>
                        </a:lnTo>
                        <a:cubicBezTo>
                          <a:pt x="41413" y="810980"/>
                          <a:pt x="579786" y="470955"/>
                          <a:pt x="686588" y="329278"/>
                        </a:cubicBezTo>
                        <a:cubicBezTo>
                          <a:pt x="793391" y="187601"/>
                          <a:pt x="854421" y="91697"/>
                          <a:pt x="804289" y="15409"/>
                        </a:cubicBezTo>
                        <a:cubicBezTo>
                          <a:pt x="767235" y="-12926"/>
                          <a:pt x="597223" y="-36902"/>
                          <a:pt x="344384" y="279146"/>
                        </a:cubicBezTo>
                        <a:cubicBezTo>
                          <a:pt x="143857" y="553782"/>
                          <a:pt x="28335" y="708536"/>
                          <a:pt x="0" y="769566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" name="Freihandform: Form 174">
                    <a:extLst>
                      <a:ext uri="{FF2B5EF4-FFF2-40B4-BE49-F238E27FC236}">
                        <a16:creationId xmlns:a16="http://schemas.microsoft.com/office/drawing/2014/main" id="{8656D6C2-0B60-4272-97DD-BFEF660E01B2}"/>
                      </a:ext>
                    </a:extLst>
                  </p:cNvPr>
                  <p:cNvSpPr/>
                  <p:nvPr/>
                </p:nvSpPr>
                <p:spPr>
                  <a:xfrm>
                    <a:off x="11584523" y="64140"/>
                    <a:ext cx="447589" cy="1112779"/>
                  </a:xfrm>
                  <a:custGeom>
                    <a:avLst/>
                    <a:gdLst>
                      <a:gd name="connsiteX0" fmla="*/ 4393 w 447589"/>
                      <a:gd name="connsiteY0" fmla="*/ 1077905 h 1112779"/>
                      <a:gd name="connsiteX1" fmla="*/ 78501 w 447589"/>
                      <a:gd name="connsiteY1" fmla="*/ 1112779 h 1112779"/>
                      <a:gd name="connsiteX2" fmla="*/ 440322 w 447589"/>
                      <a:gd name="connsiteY2" fmla="*/ 389137 h 1112779"/>
                      <a:gd name="connsiteX3" fmla="*/ 350957 w 447589"/>
                      <a:gd name="connsiteY3" fmla="*/ 5520 h 1112779"/>
                      <a:gd name="connsiteX4" fmla="*/ 39268 w 447589"/>
                      <a:gd name="connsiteY4" fmla="*/ 432730 h 1112779"/>
                      <a:gd name="connsiteX5" fmla="*/ 4393 w 447589"/>
                      <a:gd name="connsiteY5" fmla="*/ 1077905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7589" h="1112779">
                        <a:moveTo>
                          <a:pt x="4393" y="1077905"/>
                        </a:moveTo>
                        <a:lnTo>
                          <a:pt x="78501" y="1112779"/>
                        </a:lnTo>
                        <a:cubicBezTo>
                          <a:pt x="78501" y="1112779"/>
                          <a:pt x="425065" y="576587"/>
                          <a:pt x="440322" y="389137"/>
                        </a:cubicBezTo>
                        <a:cubicBezTo>
                          <a:pt x="455580" y="199508"/>
                          <a:pt x="455580" y="77448"/>
                          <a:pt x="350957" y="5520"/>
                        </a:cubicBezTo>
                        <a:cubicBezTo>
                          <a:pt x="292106" y="-16277"/>
                          <a:pt x="91579" y="7699"/>
                          <a:pt x="39268" y="432730"/>
                        </a:cubicBezTo>
                        <a:cubicBezTo>
                          <a:pt x="8752" y="794551"/>
                          <a:pt x="-8685" y="1001617"/>
                          <a:pt x="4393" y="1077905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" name="Freihandform: Form 175">
                    <a:extLst>
                      <a:ext uri="{FF2B5EF4-FFF2-40B4-BE49-F238E27FC236}">
                        <a16:creationId xmlns:a16="http://schemas.microsoft.com/office/drawing/2014/main" id="{79C649FF-5657-4F4D-9AFB-5F0E1303AD3F}"/>
                      </a:ext>
                    </a:extLst>
                  </p:cNvPr>
                  <p:cNvSpPr/>
                  <p:nvPr/>
                </p:nvSpPr>
                <p:spPr>
                  <a:xfrm>
                    <a:off x="11600346" y="686711"/>
                    <a:ext cx="1003874" cy="450498"/>
                  </a:xfrm>
                  <a:custGeom>
                    <a:avLst/>
                    <a:gdLst>
                      <a:gd name="connsiteX0" fmla="*/ 19617 w 1003874"/>
                      <a:gd name="connsiteY0" fmla="*/ 450498 h 450498"/>
                      <a:gd name="connsiteX1" fmla="*/ 773774 w 1003874"/>
                      <a:gd name="connsiteY1" fmla="*/ 293564 h 450498"/>
                      <a:gd name="connsiteX2" fmla="*/ 1002637 w 1003874"/>
                      <a:gd name="connsiteY2" fmla="*/ 62522 h 450498"/>
                      <a:gd name="connsiteX3" fmla="*/ 496959 w 1003874"/>
                      <a:gd name="connsiteY3" fmla="*/ 101755 h 450498"/>
                      <a:gd name="connsiteX4" fmla="*/ 0 w 1003874"/>
                      <a:gd name="connsiteY4" fmla="*/ 391648 h 450498"/>
                      <a:gd name="connsiteX5" fmla="*/ 19617 w 1003874"/>
                      <a:gd name="connsiteY5" fmla="*/ 450498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19617" y="450498"/>
                        </a:moveTo>
                        <a:cubicBezTo>
                          <a:pt x="19617" y="450498"/>
                          <a:pt x="623378" y="376390"/>
                          <a:pt x="773774" y="293564"/>
                        </a:cubicBezTo>
                        <a:cubicBezTo>
                          <a:pt x="924169" y="210737"/>
                          <a:pt x="1015714" y="151887"/>
                          <a:pt x="1002637" y="62522"/>
                        </a:cubicBezTo>
                        <a:cubicBezTo>
                          <a:pt x="983020" y="21108"/>
                          <a:pt x="843523" y="-72616"/>
                          <a:pt x="496959" y="101755"/>
                        </a:cubicBezTo>
                        <a:cubicBezTo>
                          <a:pt x="211426" y="258690"/>
                          <a:pt x="50132" y="350235"/>
                          <a:pt x="0" y="391648"/>
                        </a:cubicBezTo>
                        <a:lnTo>
                          <a:pt x="19617" y="450498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" name="Freihandform: Form 176">
                    <a:extLst>
                      <a:ext uri="{FF2B5EF4-FFF2-40B4-BE49-F238E27FC236}">
                        <a16:creationId xmlns:a16="http://schemas.microsoft.com/office/drawing/2014/main" id="{D5CC29A1-6941-4F88-8F8C-6C352DDC4433}"/>
                      </a:ext>
                    </a:extLst>
                  </p:cNvPr>
                  <p:cNvSpPr/>
                  <p:nvPr/>
                </p:nvSpPr>
                <p:spPr>
                  <a:xfrm>
                    <a:off x="11558883" y="1289985"/>
                    <a:ext cx="920658" cy="548241"/>
                  </a:xfrm>
                  <a:custGeom>
                    <a:avLst/>
                    <a:gdLst>
                      <a:gd name="connsiteX0" fmla="*/ 30515 w 920658"/>
                      <a:gd name="connsiteY0" fmla="*/ 0 h 548241"/>
                      <a:gd name="connsiteX1" fmla="*/ 0 w 920658"/>
                      <a:gd name="connsiteY1" fmla="*/ 52311 h 548241"/>
                      <a:gd name="connsiteX2" fmla="*/ 597223 w 920658"/>
                      <a:gd name="connsiteY2" fmla="*/ 494779 h 548241"/>
                      <a:gd name="connsiteX3" fmla="*/ 915451 w 920658"/>
                      <a:gd name="connsiteY3" fmla="*/ 507857 h 548241"/>
                      <a:gd name="connsiteX4" fmla="*/ 564528 w 920658"/>
                      <a:gd name="connsiteY4" fmla="*/ 167833 h 548241"/>
                      <a:gd name="connsiteX5" fmla="*/ 30515 w 920658"/>
                      <a:gd name="connsiteY5" fmla="*/ 0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30515" y="0"/>
                        </a:moveTo>
                        <a:lnTo>
                          <a:pt x="0" y="52311"/>
                        </a:lnTo>
                        <a:cubicBezTo>
                          <a:pt x="0" y="52311"/>
                          <a:pt x="440288" y="442468"/>
                          <a:pt x="597223" y="494779"/>
                        </a:cubicBezTo>
                        <a:cubicBezTo>
                          <a:pt x="754157" y="549270"/>
                          <a:pt x="856600" y="575426"/>
                          <a:pt x="915451" y="507857"/>
                        </a:cubicBezTo>
                        <a:cubicBezTo>
                          <a:pt x="935068" y="466444"/>
                          <a:pt x="915451" y="302971"/>
                          <a:pt x="564528" y="167833"/>
                        </a:cubicBezTo>
                        <a:cubicBezTo>
                          <a:pt x="265917" y="67569"/>
                          <a:pt x="93725" y="8719"/>
                          <a:pt x="30515" y="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6" name="Freihandform: Form 177">
                    <a:extLst>
                      <a:ext uri="{FF2B5EF4-FFF2-40B4-BE49-F238E27FC236}">
                        <a16:creationId xmlns:a16="http://schemas.microsoft.com/office/drawing/2014/main" id="{8A597600-9993-433F-98C5-1FB8020C1EC2}"/>
                      </a:ext>
                    </a:extLst>
                  </p:cNvPr>
                  <p:cNvSpPr/>
                  <p:nvPr/>
                </p:nvSpPr>
                <p:spPr>
                  <a:xfrm>
                    <a:off x="11624519" y="1130985"/>
                    <a:ext cx="1017938" cy="292322"/>
                  </a:xfrm>
                  <a:custGeom>
                    <a:avLst/>
                    <a:gdLst>
                      <a:gd name="connsiteX0" fmla="*/ 8719 w 1017938"/>
                      <a:gd name="connsiteY0" fmla="*/ 37150 h 292322"/>
                      <a:gd name="connsiteX1" fmla="*/ 0 w 1017938"/>
                      <a:gd name="connsiteY1" fmla="*/ 96000 h 292322"/>
                      <a:gd name="connsiteX2" fmla="*/ 717103 w 1017938"/>
                      <a:gd name="connsiteY2" fmla="*/ 292168 h 292322"/>
                      <a:gd name="connsiteX3" fmla="*/ 1017894 w 1017938"/>
                      <a:gd name="connsiteY3" fmla="*/ 187545 h 292322"/>
                      <a:gd name="connsiteX4" fmla="*/ 566708 w 1017938"/>
                      <a:gd name="connsiteY4" fmla="*/ 96 h 292322"/>
                      <a:gd name="connsiteX5" fmla="*/ 8719 w 1017938"/>
                      <a:gd name="connsiteY5" fmla="*/ 37150 h 2923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2322">
                        <a:moveTo>
                          <a:pt x="8719" y="37150"/>
                        </a:moveTo>
                        <a:lnTo>
                          <a:pt x="0" y="96000"/>
                        </a:lnTo>
                        <a:cubicBezTo>
                          <a:pt x="0" y="96000"/>
                          <a:pt x="551450" y="298707"/>
                          <a:pt x="717103" y="292168"/>
                        </a:cubicBezTo>
                        <a:cubicBezTo>
                          <a:pt x="882756" y="285629"/>
                          <a:pt x="987379" y="272551"/>
                          <a:pt x="1017894" y="187545"/>
                        </a:cubicBezTo>
                        <a:cubicBezTo>
                          <a:pt x="1020074" y="141772"/>
                          <a:pt x="943786" y="-4264"/>
                          <a:pt x="566708" y="96"/>
                        </a:cubicBezTo>
                        <a:cubicBezTo>
                          <a:pt x="252839" y="13173"/>
                          <a:pt x="71928" y="21892"/>
                          <a:pt x="8719" y="3715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7" name="Freihandform: Form 178">
                    <a:extLst>
                      <a:ext uri="{FF2B5EF4-FFF2-40B4-BE49-F238E27FC236}">
                        <a16:creationId xmlns:a16="http://schemas.microsoft.com/office/drawing/2014/main" id="{5210DC4B-5658-4799-B906-1B9253B15108}"/>
                      </a:ext>
                    </a:extLst>
                  </p:cNvPr>
                  <p:cNvSpPr/>
                  <p:nvPr/>
                </p:nvSpPr>
                <p:spPr>
                  <a:xfrm>
                    <a:off x="11600661" y="1229231"/>
                    <a:ext cx="309026" cy="1011355"/>
                  </a:xfrm>
                  <a:custGeom>
                    <a:avLst/>
                    <a:gdLst>
                      <a:gd name="connsiteX0" fmla="*/ 265508 w 309026"/>
                      <a:gd name="connsiteY0" fmla="*/ 527474 h 1011355"/>
                      <a:gd name="connsiteX1" fmla="*/ 75879 w 309026"/>
                      <a:gd name="connsiteY1" fmla="*/ 0 h 1011355"/>
                      <a:gd name="connsiteX2" fmla="*/ 17028 w 309026"/>
                      <a:gd name="connsiteY2" fmla="*/ 6539 h 1011355"/>
                      <a:gd name="connsiteX3" fmla="*/ 25747 w 309026"/>
                      <a:gd name="connsiteY3" fmla="*/ 749798 h 1011355"/>
                      <a:gd name="connsiteX4" fmla="*/ 208837 w 309026"/>
                      <a:gd name="connsiteY4" fmla="*/ 1011355 h 1011355"/>
                      <a:gd name="connsiteX5" fmla="*/ 265508 w 309026"/>
                      <a:gd name="connsiteY5" fmla="*/ 527474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265508" y="527474"/>
                        </a:moveTo>
                        <a:cubicBezTo>
                          <a:pt x="165244" y="228863"/>
                          <a:pt x="108574" y="56671"/>
                          <a:pt x="75879" y="0"/>
                        </a:cubicBezTo>
                        <a:lnTo>
                          <a:pt x="17028" y="6539"/>
                        </a:lnTo>
                        <a:cubicBezTo>
                          <a:pt x="17028" y="6539"/>
                          <a:pt x="-26564" y="592863"/>
                          <a:pt x="25747" y="749798"/>
                        </a:cubicBezTo>
                        <a:cubicBezTo>
                          <a:pt x="78059" y="906732"/>
                          <a:pt x="119472" y="1004816"/>
                          <a:pt x="208837" y="1011355"/>
                        </a:cubicBezTo>
                        <a:cubicBezTo>
                          <a:pt x="254610" y="1002637"/>
                          <a:pt x="372311" y="889295"/>
                          <a:pt x="265508" y="5274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0" name="Freihandform: Form 179">
                    <a:extLst>
                      <a:ext uri="{FF2B5EF4-FFF2-40B4-BE49-F238E27FC236}">
                        <a16:creationId xmlns:a16="http://schemas.microsoft.com/office/drawing/2014/main" id="{8CBB904B-7E56-4BA0-A272-CB69C521BB82}"/>
                      </a:ext>
                    </a:extLst>
                  </p:cNvPr>
                  <p:cNvSpPr/>
                  <p:nvPr/>
                </p:nvSpPr>
                <p:spPr>
                  <a:xfrm>
                    <a:off x="11580683" y="1207046"/>
                    <a:ext cx="670938" cy="823422"/>
                  </a:xfrm>
                  <a:custGeom>
                    <a:avLst/>
                    <a:gdLst>
                      <a:gd name="connsiteX0" fmla="*/ 451186 w 670938"/>
                      <a:gd name="connsiteY0" fmla="*/ 366180 h 823422"/>
                      <a:gd name="connsiteX1" fmla="*/ 41413 w 670938"/>
                      <a:gd name="connsiteY1" fmla="*/ 0 h 823422"/>
                      <a:gd name="connsiteX2" fmla="*/ 0 w 670938"/>
                      <a:gd name="connsiteY2" fmla="*/ 34874 h 823422"/>
                      <a:gd name="connsiteX3" fmla="*/ 379258 w 670938"/>
                      <a:gd name="connsiteY3" fmla="*/ 673510 h 823422"/>
                      <a:gd name="connsiteX4" fmla="*/ 651714 w 670938"/>
                      <a:gd name="connsiteY4" fmla="*/ 813008 h 823422"/>
                      <a:gd name="connsiteX5" fmla="*/ 451186 w 670938"/>
                      <a:gd name="connsiteY5" fmla="*/ 366180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451186" y="366180"/>
                        </a:moveTo>
                        <a:cubicBezTo>
                          <a:pt x="224503" y="154755"/>
                          <a:pt x="93725" y="32695"/>
                          <a:pt x="41413" y="0"/>
                        </a:cubicBezTo>
                        <a:lnTo>
                          <a:pt x="0" y="34874"/>
                        </a:lnTo>
                        <a:cubicBezTo>
                          <a:pt x="0" y="34874"/>
                          <a:pt x="261557" y="562348"/>
                          <a:pt x="379258" y="673510"/>
                        </a:cubicBezTo>
                        <a:cubicBezTo>
                          <a:pt x="499139" y="784672"/>
                          <a:pt x="577606" y="850061"/>
                          <a:pt x="651714" y="813008"/>
                        </a:cubicBezTo>
                        <a:cubicBezTo>
                          <a:pt x="680049" y="782492"/>
                          <a:pt x="714923" y="629917"/>
                          <a:pt x="451186" y="36618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" name="Freihandform: Form 180">
                    <a:extLst>
                      <a:ext uri="{FF2B5EF4-FFF2-40B4-BE49-F238E27FC236}">
                        <a16:creationId xmlns:a16="http://schemas.microsoft.com/office/drawing/2014/main" id="{3B7B6E8D-39E6-40BD-BC37-529D1BACF1CA}"/>
                      </a:ext>
                    </a:extLst>
                  </p:cNvPr>
                  <p:cNvSpPr/>
                  <p:nvPr/>
                </p:nvSpPr>
                <p:spPr>
                  <a:xfrm>
                    <a:off x="10684134" y="1200498"/>
                    <a:ext cx="822081" cy="808800"/>
                  </a:xfrm>
                  <a:custGeom>
                    <a:avLst/>
                    <a:gdLst>
                      <a:gd name="connsiteX0" fmla="*/ 822081 w 822081"/>
                      <a:gd name="connsiteY0" fmla="*/ 41413 h 808800"/>
                      <a:gd name="connsiteX1" fmla="*/ 780668 w 822081"/>
                      <a:gd name="connsiteY1" fmla="*/ 0 h 808800"/>
                      <a:gd name="connsiteX2" fmla="*/ 135493 w 822081"/>
                      <a:gd name="connsiteY2" fmla="*/ 481701 h 808800"/>
                      <a:gd name="connsiteX3" fmla="*/ 17792 w 822081"/>
                      <a:gd name="connsiteY3" fmla="*/ 793391 h 808800"/>
                      <a:gd name="connsiteX4" fmla="*/ 477697 w 822081"/>
                      <a:gd name="connsiteY4" fmla="*/ 529654 h 808800"/>
                      <a:gd name="connsiteX5" fmla="*/ 822081 w 822081"/>
                      <a:gd name="connsiteY5" fmla="*/ 41413 h 808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08800">
                        <a:moveTo>
                          <a:pt x="822081" y="41413"/>
                        </a:moveTo>
                        <a:lnTo>
                          <a:pt x="780668" y="0"/>
                        </a:lnTo>
                        <a:cubicBezTo>
                          <a:pt x="780668" y="0"/>
                          <a:pt x="242296" y="340025"/>
                          <a:pt x="135493" y="481701"/>
                        </a:cubicBezTo>
                        <a:cubicBezTo>
                          <a:pt x="28691" y="623378"/>
                          <a:pt x="-32339" y="719283"/>
                          <a:pt x="17792" y="793391"/>
                        </a:cubicBezTo>
                        <a:cubicBezTo>
                          <a:pt x="54846" y="821726"/>
                          <a:pt x="224859" y="845702"/>
                          <a:pt x="477697" y="529654"/>
                        </a:cubicBezTo>
                        <a:cubicBezTo>
                          <a:pt x="676045" y="259378"/>
                          <a:pt x="791566" y="104623"/>
                          <a:pt x="822081" y="4141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" name="Freihandform: Form 181">
                    <a:extLst>
                      <a:ext uri="{FF2B5EF4-FFF2-40B4-BE49-F238E27FC236}">
                        <a16:creationId xmlns:a16="http://schemas.microsoft.com/office/drawing/2014/main" id="{6B7D7C75-46B5-4821-AD3D-84288E8317D8}"/>
                      </a:ext>
                    </a:extLst>
                  </p:cNvPr>
                  <p:cNvSpPr/>
                  <p:nvPr/>
                </p:nvSpPr>
                <p:spPr>
                  <a:xfrm>
                    <a:off x="11103490" y="1187844"/>
                    <a:ext cx="446476" cy="1112779"/>
                  </a:xfrm>
                  <a:custGeom>
                    <a:avLst/>
                    <a:gdLst>
                      <a:gd name="connsiteX0" fmla="*/ 443197 w 446476"/>
                      <a:gd name="connsiteY0" fmla="*/ 34874 h 1112779"/>
                      <a:gd name="connsiteX1" fmla="*/ 369089 w 446476"/>
                      <a:gd name="connsiteY1" fmla="*/ 0 h 1112779"/>
                      <a:gd name="connsiteX2" fmla="*/ 7268 w 446476"/>
                      <a:gd name="connsiteY2" fmla="*/ 723642 h 1112779"/>
                      <a:gd name="connsiteX3" fmla="*/ 96633 w 446476"/>
                      <a:gd name="connsiteY3" fmla="*/ 1107260 h 1112779"/>
                      <a:gd name="connsiteX4" fmla="*/ 408322 w 446476"/>
                      <a:gd name="connsiteY4" fmla="*/ 680049 h 1112779"/>
                      <a:gd name="connsiteX5" fmla="*/ 443197 w 446476"/>
                      <a:gd name="connsiteY5" fmla="*/ 34874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6476" h="1112779">
                        <a:moveTo>
                          <a:pt x="443197" y="34874"/>
                        </a:moveTo>
                        <a:lnTo>
                          <a:pt x="369089" y="0"/>
                        </a:lnTo>
                        <a:cubicBezTo>
                          <a:pt x="369089" y="0"/>
                          <a:pt x="22525" y="536193"/>
                          <a:pt x="7268" y="723642"/>
                        </a:cubicBezTo>
                        <a:cubicBezTo>
                          <a:pt x="-7990" y="913271"/>
                          <a:pt x="-7990" y="1035331"/>
                          <a:pt x="96633" y="1107260"/>
                        </a:cubicBezTo>
                        <a:cubicBezTo>
                          <a:pt x="155483" y="1129056"/>
                          <a:pt x="356011" y="1105080"/>
                          <a:pt x="408322" y="680049"/>
                        </a:cubicBezTo>
                        <a:cubicBezTo>
                          <a:pt x="436658" y="318228"/>
                          <a:pt x="454095" y="111162"/>
                          <a:pt x="443197" y="348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" name="Freihandform: Form 182">
                    <a:extLst>
                      <a:ext uri="{FF2B5EF4-FFF2-40B4-BE49-F238E27FC236}">
                        <a16:creationId xmlns:a16="http://schemas.microsoft.com/office/drawing/2014/main" id="{E7EB9117-178F-428E-B769-534F1D88F294}"/>
                      </a:ext>
                    </a:extLst>
                  </p:cNvPr>
                  <p:cNvSpPr/>
                  <p:nvPr/>
                </p:nvSpPr>
                <p:spPr>
                  <a:xfrm>
                    <a:off x="10396141" y="1131081"/>
                    <a:ext cx="1003874" cy="450498"/>
                  </a:xfrm>
                  <a:custGeom>
                    <a:avLst/>
                    <a:gdLst>
                      <a:gd name="connsiteX0" fmla="*/ 984257 w 1003874"/>
                      <a:gd name="connsiteY0" fmla="*/ 0 h 450498"/>
                      <a:gd name="connsiteX1" fmla="*/ 230100 w 1003874"/>
                      <a:gd name="connsiteY1" fmla="*/ 156934 h 450498"/>
                      <a:gd name="connsiteX2" fmla="*/ 1237 w 1003874"/>
                      <a:gd name="connsiteY2" fmla="*/ 387977 h 450498"/>
                      <a:gd name="connsiteX3" fmla="*/ 506915 w 1003874"/>
                      <a:gd name="connsiteY3" fmla="*/ 348743 h 450498"/>
                      <a:gd name="connsiteX4" fmla="*/ 1003874 w 1003874"/>
                      <a:gd name="connsiteY4" fmla="*/ 58850 h 450498"/>
                      <a:gd name="connsiteX5" fmla="*/ 984257 w 1003874"/>
                      <a:gd name="connsiteY5" fmla="*/ 0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984257" y="0"/>
                        </a:moveTo>
                        <a:cubicBezTo>
                          <a:pt x="984257" y="0"/>
                          <a:pt x="380496" y="74108"/>
                          <a:pt x="230100" y="156934"/>
                        </a:cubicBezTo>
                        <a:cubicBezTo>
                          <a:pt x="79705" y="239761"/>
                          <a:pt x="-11840" y="298611"/>
                          <a:pt x="1237" y="387977"/>
                        </a:cubicBezTo>
                        <a:cubicBezTo>
                          <a:pt x="20854" y="429390"/>
                          <a:pt x="160352" y="523115"/>
                          <a:pt x="506915" y="348743"/>
                        </a:cubicBezTo>
                        <a:cubicBezTo>
                          <a:pt x="792449" y="191809"/>
                          <a:pt x="953742" y="100264"/>
                          <a:pt x="1003874" y="58850"/>
                        </a:cubicBezTo>
                        <a:lnTo>
                          <a:pt x="984257" y="0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" name="Freihandform: Form 183">
                    <a:extLst>
                      <a:ext uri="{FF2B5EF4-FFF2-40B4-BE49-F238E27FC236}">
                        <a16:creationId xmlns:a16="http://schemas.microsoft.com/office/drawing/2014/main" id="{FBE3DC25-AB04-4E96-AC23-4F506C8EBFAE}"/>
                      </a:ext>
                    </a:extLst>
                  </p:cNvPr>
                  <p:cNvSpPr/>
                  <p:nvPr/>
                </p:nvSpPr>
                <p:spPr>
                  <a:xfrm>
                    <a:off x="10585147" y="494585"/>
                    <a:ext cx="920658" cy="548241"/>
                  </a:xfrm>
                  <a:custGeom>
                    <a:avLst/>
                    <a:gdLst>
                      <a:gd name="connsiteX0" fmla="*/ 890144 w 920658"/>
                      <a:gd name="connsiteY0" fmla="*/ 548241 h 548241"/>
                      <a:gd name="connsiteX1" fmla="*/ 920659 w 920658"/>
                      <a:gd name="connsiteY1" fmla="*/ 495930 h 548241"/>
                      <a:gd name="connsiteX2" fmla="*/ 323436 w 920658"/>
                      <a:gd name="connsiteY2" fmla="*/ 53462 h 548241"/>
                      <a:gd name="connsiteX3" fmla="*/ 5208 w 920658"/>
                      <a:gd name="connsiteY3" fmla="*/ 40384 h 548241"/>
                      <a:gd name="connsiteX4" fmla="*/ 356131 w 920658"/>
                      <a:gd name="connsiteY4" fmla="*/ 380409 h 548241"/>
                      <a:gd name="connsiteX5" fmla="*/ 890144 w 920658"/>
                      <a:gd name="connsiteY5" fmla="*/ 548241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890144" y="548241"/>
                        </a:moveTo>
                        <a:lnTo>
                          <a:pt x="920659" y="495930"/>
                        </a:lnTo>
                        <a:cubicBezTo>
                          <a:pt x="920659" y="495930"/>
                          <a:pt x="480371" y="105773"/>
                          <a:pt x="323436" y="53462"/>
                        </a:cubicBezTo>
                        <a:cubicBezTo>
                          <a:pt x="166502" y="-1029"/>
                          <a:pt x="64059" y="-27185"/>
                          <a:pt x="5208" y="40384"/>
                        </a:cubicBezTo>
                        <a:cubicBezTo>
                          <a:pt x="-14409" y="81797"/>
                          <a:pt x="5208" y="245271"/>
                          <a:pt x="356131" y="380409"/>
                        </a:cubicBezTo>
                        <a:cubicBezTo>
                          <a:pt x="654742" y="482852"/>
                          <a:pt x="826934" y="541702"/>
                          <a:pt x="890144" y="54824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5" name="Freihandform: Form 184">
                    <a:extLst>
                      <a:ext uri="{FF2B5EF4-FFF2-40B4-BE49-F238E27FC236}">
                        <a16:creationId xmlns:a16="http://schemas.microsoft.com/office/drawing/2014/main" id="{0CD0A21E-35BC-4FCF-915E-AFC50052C69C}"/>
                      </a:ext>
                    </a:extLst>
                  </p:cNvPr>
                  <p:cNvSpPr/>
                  <p:nvPr/>
                </p:nvSpPr>
                <p:spPr>
                  <a:xfrm>
                    <a:off x="10408443" y="881147"/>
                    <a:ext cx="1017938" cy="294502"/>
                  </a:xfrm>
                  <a:custGeom>
                    <a:avLst/>
                    <a:gdLst>
                      <a:gd name="connsiteX0" fmla="*/ 1009220 w 1017938"/>
                      <a:gd name="connsiteY0" fmla="*/ 255173 h 294502"/>
                      <a:gd name="connsiteX1" fmla="*/ 1017939 w 1017938"/>
                      <a:gd name="connsiteY1" fmla="*/ 196323 h 294502"/>
                      <a:gd name="connsiteX2" fmla="*/ 300836 w 1017938"/>
                      <a:gd name="connsiteY2" fmla="*/ 155 h 294502"/>
                      <a:gd name="connsiteX3" fmla="*/ 45 w 1017938"/>
                      <a:gd name="connsiteY3" fmla="*/ 106957 h 294502"/>
                      <a:gd name="connsiteX4" fmla="*/ 451231 w 1017938"/>
                      <a:gd name="connsiteY4" fmla="*/ 294407 h 294502"/>
                      <a:gd name="connsiteX5" fmla="*/ 1009220 w 1017938"/>
                      <a:gd name="connsiteY5" fmla="*/ 255173 h 2945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4502">
                        <a:moveTo>
                          <a:pt x="1009220" y="255173"/>
                        </a:moveTo>
                        <a:lnTo>
                          <a:pt x="1017939" y="196323"/>
                        </a:lnTo>
                        <a:cubicBezTo>
                          <a:pt x="1017939" y="196323"/>
                          <a:pt x="466489" y="-6384"/>
                          <a:pt x="300836" y="155"/>
                        </a:cubicBezTo>
                        <a:cubicBezTo>
                          <a:pt x="135183" y="8873"/>
                          <a:pt x="30560" y="19772"/>
                          <a:pt x="45" y="106957"/>
                        </a:cubicBezTo>
                        <a:cubicBezTo>
                          <a:pt x="-2135" y="152730"/>
                          <a:pt x="74153" y="298766"/>
                          <a:pt x="451231" y="294407"/>
                        </a:cubicBezTo>
                        <a:cubicBezTo>
                          <a:pt x="767280" y="279149"/>
                          <a:pt x="948190" y="272610"/>
                          <a:pt x="1009220" y="25517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6" name="Freihandform: Form 185">
                    <a:extLst>
                      <a:ext uri="{FF2B5EF4-FFF2-40B4-BE49-F238E27FC236}">
                        <a16:creationId xmlns:a16="http://schemas.microsoft.com/office/drawing/2014/main" id="{FC721DD0-1D6A-46CC-B989-16AFC81BFC4C}"/>
                      </a:ext>
                    </a:extLst>
                  </p:cNvPr>
                  <p:cNvSpPr/>
                  <p:nvPr/>
                </p:nvSpPr>
                <p:spPr>
                  <a:xfrm>
                    <a:off x="11308288" y="22604"/>
                    <a:ext cx="309026" cy="1011355"/>
                  </a:xfrm>
                  <a:custGeom>
                    <a:avLst/>
                    <a:gdLst>
                      <a:gd name="connsiteX0" fmla="*/ 43518 w 309026"/>
                      <a:gd name="connsiteY0" fmla="*/ 483881 h 1011355"/>
                      <a:gd name="connsiteX1" fmla="*/ 233147 w 309026"/>
                      <a:gd name="connsiteY1" fmla="*/ 1011355 h 1011355"/>
                      <a:gd name="connsiteX2" fmla="*/ 291998 w 309026"/>
                      <a:gd name="connsiteY2" fmla="*/ 1004816 h 1011355"/>
                      <a:gd name="connsiteX3" fmla="*/ 283279 w 309026"/>
                      <a:gd name="connsiteY3" fmla="*/ 261557 h 1011355"/>
                      <a:gd name="connsiteX4" fmla="*/ 100189 w 309026"/>
                      <a:gd name="connsiteY4" fmla="*/ 0 h 1011355"/>
                      <a:gd name="connsiteX5" fmla="*/ 43518 w 309026"/>
                      <a:gd name="connsiteY5" fmla="*/ 483881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43518" y="483881"/>
                        </a:moveTo>
                        <a:cubicBezTo>
                          <a:pt x="143782" y="782493"/>
                          <a:pt x="200453" y="954684"/>
                          <a:pt x="233147" y="1011355"/>
                        </a:cubicBezTo>
                        <a:lnTo>
                          <a:pt x="291998" y="1004816"/>
                        </a:lnTo>
                        <a:cubicBezTo>
                          <a:pt x="291998" y="1004816"/>
                          <a:pt x="335591" y="418492"/>
                          <a:pt x="283279" y="261557"/>
                        </a:cubicBezTo>
                        <a:cubicBezTo>
                          <a:pt x="230968" y="104623"/>
                          <a:pt x="189554" y="6539"/>
                          <a:pt x="100189" y="0"/>
                        </a:cubicBezTo>
                        <a:cubicBezTo>
                          <a:pt x="54417" y="8719"/>
                          <a:pt x="-63284" y="122060"/>
                          <a:pt x="43518" y="48388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7" name="Freihandform: Form 186">
                    <a:extLst>
                      <a:ext uri="{FF2B5EF4-FFF2-40B4-BE49-F238E27FC236}">
                        <a16:creationId xmlns:a16="http://schemas.microsoft.com/office/drawing/2014/main" id="{79ED9F5F-94B3-4276-BE5D-789E69907677}"/>
                      </a:ext>
                    </a:extLst>
                  </p:cNvPr>
                  <p:cNvSpPr/>
                  <p:nvPr/>
                </p:nvSpPr>
                <p:spPr>
                  <a:xfrm>
                    <a:off x="10900924" y="231760"/>
                    <a:ext cx="670938" cy="823422"/>
                  </a:xfrm>
                  <a:custGeom>
                    <a:avLst/>
                    <a:gdLst>
                      <a:gd name="connsiteX0" fmla="*/ 219752 w 670938"/>
                      <a:gd name="connsiteY0" fmla="*/ 457242 h 823422"/>
                      <a:gd name="connsiteX1" fmla="*/ 629525 w 670938"/>
                      <a:gd name="connsiteY1" fmla="*/ 823423 h 823422"/>
                      <a:gd name="connsiteX2" fmla="*/ 670939 w 670938"/>
                      <a:gd name="connsiteY2" fmla="*/ 788548 h 823422"/>
                      <a:gd name="connsiteX3" fmla="*/ 291680 w 670938"/>
                      <a:gd name="connsiteY3" fmla="*/ 149912 h 823422"/>
                      <a:gd name="connsiteX4" fmla="*/ 19225 w 670938"/>
                      <a:gd name="connsiteY4" fmla="*/ 10415 h 823422"/>
                      <a:gd name="connsiteX5" fmla="*/ 219752 w 670938"/>
                      <a:gd name="connsiteY5" fmla="*/ 457242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219752" y="457242"/>
                        </a:moveTo>
                        <a:cubicBezTo>
                          <a:pt x="446435" y="668668"/>
                          <a:pt x="577214" y="790728"/>
                          <a:pt x="629525" y="823423"/>
                        </a:cubicBezTo>
                        <a:lnTo>
                          <a:pt x="670939" y="788548"/>
                        </a:lnTo>
                        <a:cubicBezTo>
                          <a:pt x="670939" y="788548"/>
                          <a:pt x="409381" y="261074"/>
                          <a:pt x="291680" y="149912"/>
                        </a:cubicBezTo>
                        <a:cubicBezTo>
                          <a:pt x="171800" y="38750"/>
                          <a:pt x="93333" y="-26639"/>
                          <a:pt x="19225" y="10415"/>
                        </a:cubicBezTo>
                        <a:cubicBezTo>
                          <a:pt x="-9111" y="40930"/>
                          <a:pt x="-43985" y="195685"/>
                          <a:pt x="219752" y="457242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38" name="Grafik 5">
                    <a:extLst>
                      <a:ext uri="{FF2B5EF4-FFF2-40B4-BE49-F238E27FC236}">
                        <a16:creationId xmlns:a16="http://schemas.microsoft.com/office/drawing/2014/main" id="{4A90D31E-4AF8-416D-9D63-C0C20A8D2B29}"/>
                      </a:ext>
                    </a:extLst>
                  </p:cNvPr>
                  <p:cNvGrpSpPr/>
                  <p:nvPr/>
                </p:nvGrpSpPr>
                <p:grpSpPr>
                  <a:xfrm>
                    <a:off x="10468669" y="91979"/>
                    <a:ext cx="2134946" cy="2159439"/>
                    <a:chOff x="10468669" y="91979"/>
                    <a:chExt cx="2134946" cy="2159439"/>
                  </a:xfrm>
                  <a:solidFill>
                    <a:srgbClr val="FFFFFF"/>
                  </a:solidFill>
                </p:grpSpPr>
                <p:sp>
                  <p:nvSpPr>
                    <p:cNvPr id="39" name="Freihandform: Form 188">
                      <a:extLst>
                        <a:ext uri="{FF2B5EF4-FFF2-40B4-BE49-F238E27FC236}">
                          <a16:creationId xmlns:a16="http://schemas.microsoft.com/office/drawing/2014/main" id="{63D88DF8-E96F-4D7F-9795-CF005175F9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8669" y="728333"/>
                      <a:ext cx="1020510" cy="415311"/>
                    </a:xfrm>
                    <a:custGeom>
                      <a:avLst/>
                      <a:gdLst>
                        <a:gd name="connsiteX0" fmla="*/ 1005253 w 1020510"/>
                        <a:gd name="connsiteY0" fmla="*/ 370222 h 370774"/>
                        <a:gd name="connsiteX1" fmla="*/ 1020511 w 1020510"/>
                        <a:gd name="connsiteY1" fmla="*/ 315731 h 370774"/>
                        <a:gd name="connsiteX2" fmla="*/ 314306 w 1020510"/>
                        <a:gd name="connsiteY2" fmla="*/ 12760 h 370774"/>
                        <a:gd name="connsiteX3" fmla="*/ 437 w 1020510"/>
                        <a:gd name="connsiteY3" fmla="*/ 65072 h 370774"/>
                        <a:gd name="connsiteX4" fmla="*/ 438546 w 1020510"/>
                        <a:gd name="connsiteY4" fmla="*/ 317911 h 370774"/>
                        <a:gd name="connsiteX5" fmla="*/ 1005253 w 1020510"/>
                        <a:gd name="connsiteY5" fmla="*/ 370222 h 3707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0774">
                          <a:moveTo>
                            <a:pt x="1005253" y="370222"/>
                          </a:moveTo>
                          <a:lnTo>
                            <a:pt x="1020511" y="315731"/>
                          </a:lnTo>
                          <a:cubicBezTo>
                            <a:pt x="1020511" y="315731"/>
                            <a:pt x="482138" y="32377"/>
                            <a:pt x="314306" y="12760"/>
                          </a:cubicBezTo>
                          <a:cubicBezTo>
                            <a:pt x="146473" y="-6856"/>
                            <a:pt x="39671" y="-13395"/>
                            <a:pt x="437" y="65072"/>
                          </a:cubicBezTo>
                          <a:cubicBezTo>
                            <a:pt x="-6102" y="108665"/>
                            <a:pt x="57108" y="261240"/>
                            <a:pt x="438546" y="317911"/>
                          </a:cubicBezTo>
                          <a:cubicBezTo>
                            <a:pt x="756774" y="352785"/>
                            <a:pt x="939864" y="374581"/>
                            <a:pt x="1005253" y="37022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0" name="Freihandform: Form 189">
                      <a:extLst>
                        <a:ext uri="{FF2B5EF4-FFF2-40B4-BE49-F238E27FC236}">
                          <a16:creationId xmlns:a16="http://schemas.microsoft.com/office/drawing/2014/main" id="{FD2B1FF9-7C17-423E-A128-72408CF40B4B}"/>
                        </a:ext>
                      </a:extLst>
                    </p:cNvPr>
                    <p:cNvSpPr/>
                    <p:nvPr/>
                  </p:nvSpPr>
                  <p:spPr>
                    <a:xfrm rot="184551">
                      <a:off x="10473608" y="1098449"/>
                      <a:ext cx="1052768" cy="433246"/>
                    </a:xfrm>
                    <a:custGeom>
                      <a:avLst/>
                      <a:gdLst>
                        <a:gd name="connsiteX0" fmla="*/ 1052768 w 1052768"/>
                        <a:gd name="connsiteY0" fmla="*/ 84495 h 433246"/>
                        <a:gd name="connsiteX1" fmla="*/ 1046230 w 1052768"/>
                        <a:gd name="connsiteY1" fmla="*/ 6028 h 433246"/>
                        <a:gd name="connsiteX2" fmla="*/ 274635 w 1052768"/>
                        <a:gd name="connsiteY2" fmla="*/ 51800 h 433246"/>
                        <a:gd name="connsiteX3" fmla="*/ 0 w 1052768"/>
                        <a:gd name="connsiteY3" fmla="*/ 308998 h 433246"/>
                        <a:gd name="connsiteX4" fmla="*/ 503498 w 1052768"/>
                        <a:gd name="connsiteY4" fmla="*/ 363489 h 433246"/>
                        <a:gd name="connsiteX5" fmla="*/ 1052768 w 1052768"/>
                        <a:gd name="connsiteY5" fmla="*/ 84495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2768" h="433246">
                          <a:moveTo>
                            <a:pt x="1052768" y="84495"/>
                          </a:moveTo>
                          <a:lnTo>
                            <a:pt x="1046230" y="6028"/>
                          </a:lnTo>
                          <a:cubicBezTo>
                            <a:pt x="1046230" y="6028"/>
                            <a:pt x="438109" y="-24487"/>
                            <a:pt x="274635" y="51800"/>
                          </a:cubicBezTo>
                          <a:cubicBezTo>
                            <a:pt x="111162" y="130267"/>
                            <a:pt x="8719" y="186938"/>
                            <a:pt x="0" y="308998"/>
                          </a:cubicBezTo>
                          <a:cubicBezTo>
                            <a:pt x="10898" y="367849"/>
                            <a:pt x="126419" y="522603"/>
                            <a:pt x="503498" y="363489"/>
                          </a:cubicBezTo>
                          <a:cubicBezTo>
                            <a:pt x="815187" y="215274"/>
                            <a:pt x="993918" y="130267"/>
                            <a:pt x="1052768" y="84495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1" name="Freihandform: Form 190">
                      <a:extLst>
                        <a:ext uri="{FF2B5EF4-FFF2-40B4-BE49-F238E27FC236}">
                          <a16:creationId xmlns:a16="http://schemas.microsoft.com/office/drawing/2014/main" id="{280AA17C-92CD-409E-B4DB-860D2EDE0C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9290" y="383058"/>
                      <a:ext cx="800989" cy="693531"/>
                    </a:xfrm>
                    <a:custGeom>
                      <a:avLst/>
                      <a:gdLst>
                        <a:gd name="connsiteX0" fmla="*/ 800989 w 800989"/>
                        <a:gd name="connsiteY0" fmla="*/ 649939 h 693531"/>
                        <a:gd name="connsiteX1" fmla="*/ 312749 w 800989"/>
                        <a:gd name="connsiteY1" fmla="*/ 100668 h 693531"/>
                        <a:gd name="connsiteX2" fmla="*/ 11958 w 800989"/>
                        <a:gd name="connsiteY2" fmla="*/ 22201 h 693531"/>
                        <a:gd name="connsiteX3" fmla="*/ 286593 w 800989"/>
                        <a:gd name="connsiteY3" fmla="*/ 421076 h 693531"/>
                        <a:gd name="connsiteX4" fmla="*/ 763935 w 800989"/>
                        <a:gd name="connsiteY4" fmla="*/ 693532 h 693531"/>
                        <a:gd name="connsiteX5" fmla="*/ 800989 w 800989"/>
                        <a:gd name="connsiteY5" fmla="*/ 649939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800989" y="649939"/>
                          </a:moveTo>
                          <a:cubicBezTo>
                            <a:pt x="800989" y="649939"/>
                            <a:pt x="452246" y="185674"/>
                            <a:pt x="312749" y="100668"/>
                          </a:cubicBezTo>
                          <a:cubicBezTo>
                            <a:pt x="173252" y="15662"/>
                            <a:pt x="81706" y="-30111"/>
                            <a:pt x="11958" y="22201"/>
                          </a:cubicBezTo>
                          <a:cubicBezTo>
                            <a:pt x="-14198" y="59255"/>
                            <a:pt x="-25096" y="218369"/>
                            <a:pt x="286593" y="421076"/>
                          </a:cubicBezTo>
                          <a:cubicBezTo>
                            <a:pt x="552510" y="580190"/>
                            <a:pt x="705085" y="673915"/>
                            <a:pt x="763935" y="693532"/>
                          </a:cubicBezTo>
                          <a:lnTo>
                            <a:pt x="800989" y="64993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2" name="Freihandform: Form 191">
                      <a:extLst>
                        <a:ext uri="{FF2B5EF4-FFF2-40B4-BE49-F238E27FC236}">
                          <a16:creationId xmlns:a16="http://schemas.microsoft.com/office/drawing/2014/main" id="{B461D9AE-4D53-4209-AD25-2D4E864869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0345" y="91979"/>
                      <a:ext cx="304507" cy="974301"/>
                    </a:xfrm>
                    <a:custGeom>
                      <a:avLst/>
                      <a:gdLst>
                        <a:gd name="connsiteX0" fmla="*/ 132060 w 274679"/>
                        <a:gd name="connsiteY0" fmla="*/ 974301 h 974301"/>
                        <a:gd name="connsiteX1" fmla="*/ 188730 w 274679"/>
                        <a:gd name="connsiteY1" fmla="*/ 974301 h 974301"/>
                        <a:gd name="connsiteX2" fmla="*/ 269377 w 274679"/>
                        <a:gd name="connsiteY2" fmla="*/ 270276 h 974301"/>
                        <a:gd name="connsiteX3" fmla="*/ 127700 w 274679"/>
                        <a:gd name="connsiteY3" fmla="*/ 0 h 974301"/>
                        <a:gd name="connsiteX4" fmla="*/ 14359 w 274679"/>
                        <a:gd name="connsiteY4" fmla="*/ 451186 h 974301"/>
                        <a:gd name="connsiteX5" fmla="*/ 132060 w 274679"/>
                        <a:gd name="connsiteY5" fmla="*/ 974301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32060" y="974301"/>
                          </a:moveTo>
                          <a:lnTo>
                            <a:pt x="188730" y="974301"/>
                          </a:lnTo>
                          <a:cubicBezTo>
                            <a:pt x="188730" y="974301"/>
                            <a:pt x="299892" y="425031"/>
                            <a:pt x="269377" y="270276"/>
                          </a:cubicBezTo>
                          <a:cubicBezTo>
                            <a:pt x="238862" y="115521"/>
                            <a:pt x="212707" y="17437"/>
                            <a:pt x="127700" y="0"/>
                          </a:cubicBezTo>
                          <a:cubicBezTo>
                            <a:pt x="84107" y="4359"/>
                            <a:pt x="-42312" y="95904"/>
                            <a:pt x="14359" y="451186"/>
                          </a:cubicBezTo>
                          <a:cubicBezTo>
                            <a:pt x="75389" y="749798"/>
                            <a:pt x="108084" y="917631"/>
                            <a:pt x="132060" y="974301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3" name="Freihandform: Form 192">
                      <a:extLst>
                        <a:ext uri="{FF2B5EF4-FFF2-40B4-BE49-F238E27FC236}">
                          <a16:creationId xmlns:a16="http://schemas.microsoft.com/office/drawing/2014/main" id="{9B5C64E6-8EF5-4A0C-8D95-D25B9D70C8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71041" y="186511"/>
                      <a:ext cx="462825" cy="908535"/>
                    </a:xfrm>
                    <a:custGeom>
                      <a:avLst/>
                      <a:gdLst>
                        <a:gd name="connsiteX0" fmla="*/ 410514 w 462825"/>
                        <a:gd name="connsiteY0" fmla="*/ 908536 h 908535"/>
                        <a:gd name="connsiteX1" fmla="*/ 462826 w 462825"/>
                        <a:gd name="connsiteY1" fmla="*/ 888919 h 908535"/>
                        <a:gd name="connsiteX2" fmla="*/ 281915 w 462825"/>
                        <a:gd name="connsiteY2" fmla="*/ 202331 h 908535"/>
                        <a:gd name="connsiteX3" fmla="*/ 53052 w 462825"/>
                        <a:gd name="connsiteY3" fmla="*/ 1803 h 908535"/>
                        <a:gd name="connsiteX4" fmla="*/ 114082 w 462825"/>
                        <a:gd name="connsiteY4" fmla="*/ 463888 h 908535"/>
                        <a:gd name="connsiteX5" fmla="*/ 410514 w 462825"/>
                        <a:gd name="connsiteY5" fmla="*/ 908536 h 9085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8535">
                          <a:moveTo>
                            <a:pt x="410514" y="908536"/>
                          </a:moveTo>
                          <a:lnTo>
                            <a:pt x="462826" y="888919"/>
                          </a:lnTo>
                          <a:cubicBezTo>
                            <a:pt x="462826" y="888919"/>
                            <a:pt x="366921" y="335289"/>
                            <a:pt x="281915" y="202331"/>
                          </a:cubicBezTo>
                          <a:cubicBezTo>
                            <a:pt x="196909" y="69372"/>
                            <a:pt x="138059" y="-13454"/>
                            <a:pt x="53052" y="1803"/>
                          </a:cubicBezTo>
                          <a:cubicBezTo>
                            <a:pt x="13819" y="21420"/>
                            <a:pt x="-69008" y="154378"/>
                            <a:pt x="114082" y="463888"/>
                          </a:cubicBezTo>
                          <a:cubicBezTo>
                            <a:pt x="275376" y="718906"/>
                            <a:pt x="366921" y="864943"/>
                            <a:pt x="410514" y="90853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4" name="Freihandform: Form 193">
                      <a:extLst>
                        <a:ext uri="{FF2B5EF4-FFF2-40B4-BE49-F238E27FC236}">
                          <a16:creationId xmlns:a16="http://schemas.microsoft.com/office/drawing/2014/main" id="{38D10A3D-9EBD-4282-91B6-20E5AE29EC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2098" y="467391"/>
                      <a:ext cx="784672" cy="662868"/>
                    </a:xfrm>
                    <a:custGeom>
                      <a:avLst/>
                      <a:gdLst>
                        <a:gd name="connsiteX0" fmla="*/ 344384 w 784672"/>
                        <a:gd name="connsiteY0" fmla="*/ 209502 h 662868"/>
                        <a:gd name="connsiteX1" fmla="*/ 0 w 784672"/>
                        <a:gd name="connsiteY1" fmla="*/ 617096 h 662868"/>
                        <a:gd name="connsiteX2" fmla="*/ 34874 w 784672"/>
                        <a:gd name="connsiteY2" fmla="*/ 662868 h 662868"/>
                        <a:gd name="connsiteX3" fmla="*/ 645175 w 784672"/>
                        <a:gd name="connsiteY3" fmla="*/ 301047 h 662868"/>
                        <a:gd name="connsiteX4" fmla="*/ 773774 w 784672"/>
                        <a:gd name="connsiteY4" fmla="*/ 26412 h 662868"/>
                        <a:gd name="connsiteX5" fmla="*/ 344384 w 784672"/>
                        <a:gd name="connsiteY5" fmla="*/ 209502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344384" y="209502"/>
                          </a:moveTo>
                          <a:cubicBezTo>
                            <a:pt x="146036" y="436185"/>
                            <a:pt x="30515" y="564784"/>
                            <a:pt x="0" y="617096"/>
                          </a:cubicBezTo>
                          <a:lnTo>
                            <a:pt x="34874" y="662868"/>
                          </a:lnTo>
                          <a:cubicBezTo>
                            <a:pt x="34874" y="662868"/>
                            <a:pt x="540552" y="418748"/>
                            <a:pt x="645175" y="301047"/>
                          </a:cubicBezTo>
                          <a:cubicBezTo>
                            <a:pt x="749798" y="183346"/>
                            <a:pt x="810828" y="102699"/>
                            <a:pt x="773774" y="26412"/>
                          </a:cubicBezTo>
                          <a:cubicBezTo>
                            <a:pt x="741079" y="-8463"/>
                            <a:pt x="590684" y="-52055"/>
                            <a:pt x="344384" y="20950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5" name="Freihandform: Form 194">
                      <a:extLst>
                        <a:ext uri="{FF2B5EF4-FFF2-40B4-BE49-F238E27FC236}">
                          <a16:creationId xmlns:a16="http://schemas.microsoft.com/office/drawing/2014/main" id="{D18302AF-D5A8-48F5-9278-8FC2951A58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1862" y="211652"/>
                      <a:ext cx="424485" cy="912068"/>
                    </a:xfrm>
                    <a:custGeom>
                      <a:avLst/>
                      <a:gdLst>
                        <a:gd name="connsiteX0" fmla="*/ 106803 w 424485"/>
                        <a:gd name="connsiteY0" fmla="*/ 380235 h 912068"/>
                        <a:gd name="connsiteX1" fmla="*/ 0 w 424485"/>
                        <a:gd name="connsiteY1" fmla="*/ 894631 h 912068"/>
                        <a:gd name="connsiteX2" fmla="*/ 47952 w 424485"/>
                        <a:gd name="connsiteY2" fmla="*/ 912069 h 912068"/>
                        <a:gd name="connsiteX3" fmla="*/ 394516 w 424485"/>
                        <a:gd name="connsiteY3" fmla="*/ 293049 h 912068"/>
                        <a:gd name="connsiteX4" fmla="*/ 379258 w 424485"/>
                        <a:gd name="connsiteY4" fmla="*/ 977 h 912068"/>
                        <a:gd name="connsiteX5" fmla="*/ 106803 w 424485"/>
                        <a:gd name="connsiteY5" fmla="*/ 380235 h 9120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68">
                          <a:moveTo>
                            <a:pt x="106803" y="380235"/>
                          </a:moveTo>
                          <a:cubicBezTo>
                            <a:pt x="41413" y="670128"/>
                            <a:pt x="2180" y="835781"/>
                            <a:pt x="0" y="894631"/>
                          </a:cubicBezTo>
                          <a:lnTo>
                            <a:pt x="47952" y="912069"/>
                          </a:lnTo>
                          <a:cubicBezTo>
                            <a:pt x="47952" y="912069"/>
                            <a:pt x="359641" y="445625"/>
                            <a:pt x="394516" y="293049"/>
                          </a:cubicBezTo>
                          <a:cubicBezTo>
                            <a:pt x="429390" y="142654"/>
                            <a:pt x="444647" y="44570"/>
                            <a:pt x="379258" y="977"/>
                          </a:cubicBezTo>
                          <a:cubicBezTo>
                            <a:pt x="342204" y="-7742"/>
                            <a:pt x="198348" y="35851"/>
                            <a:pt x="106803" y="380235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6" name="Freihandform: Form 195">
                      <a:extLst>
                        <a:ext uri="{FF2B5EF4-FFF2-40B4-BE49-F238E27FC236}">
                          <a16:creationId xmlns:a16="http://schemas.microsoft.com/office/drawing/2014/main" id="{5897F0D5-0D03-43D7-85E4-1F1A4E7227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83105" y="1175700"/>
                      <a:ext cx="1020510" cy="371374"/>
                    </a:xfrm>
                    <a:custGeom>
                      <a:avLst/>
                      <a:gdLst>
                        <a:gd name="connsiteX0" fmla="*/ 15258 w 1020510"/>
                        <a:gd name="connsiteY0" fmla="*/ 1153 h 371374"/>
                        <a:gd name="connsiteX1" fmla="*/ 0 w 1020510"/>
                        <a:gd name="connsiteY1" fmla="*/ 55644 h 371374"/>
                        <a:gd name="connsiteX2" fmla="*/ 706205 w 1020510"/>
                        <a:gd name="connsiteY2" fmla="*/ 358615 h 371374"/>
                        <a:gd name="connsiteX3" fmla="*/ 1020074 w 1020510"/>
                        <a:gd name="connsiteY3" fmla="*/ 306303 h 371374"/>
                        <a:gd name="connsiteX4" fmla="*/ 581965 w 1020510"/>
                        <a:gd name="connsiteY4" fmla="*/ 53464 h 371374"/>
                        <a:gd name="connsiteX5" fmla="*/ 15258 w 1020510"/>
                        <a:gd name="connsiteY5" fmla="*/ 1153 h 3713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1374">
                          <a:moveTo>
                            <a:pt x="15258" y="1153"/>
                          </a:moveTo>
                          <a:lnTo>
                            <a:pt x="0" y="55644"/>
                          </a:lnTo>
                          <a:cubicBezTo>
                            <a:pt x="0" y="55644"/>
                            <a:pt x="538372" y="338998"/>
                            <a:pt x="706205" y="358615"/>
                          </a:cubicBezTo>
                          <a:cubicBezTo>
                            <a:pt x="874038" y="378231"/>
                            <a:pt x="980840" y="384770"/>
                            <a:pt x="1020074" y="306303"/>
                          </a:cubicBezTo>
                          <a:cubicBezTo>
                            <a:pt x="1026613" y="262710"/>
                            <a:pt x="963403" y="110135"/>
                            <a:pt x="581965" y="53464"/>
                          </a:cubicBezTo>
                          <a:cubicBezTo>
                            <a:pt x="263737" y="16410"/>
                            <a:pt x="80647" y="-5386"/>
                            <a:pt x="15258" y="115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7" name="Freihandform: Form 196">
                      <a:extLst>
                        <a:ext uri="{FF2B5EF4-FFF2-40B4-BE49-F238E27FC236}">
                          <a16:creationId xmlns:a16="http://schemas.microsoft.com/office/drawing/2014/main" id="{A3AF54DA-4169-47AB-877E-F028267B2A74}"/>
                        </a:ext>
                      </a:extLst>
                    </p:cNvPr>
                    <p:cNvSpPr/>
                    <p:nvPr/>
                  </p:nvSpPr>
                  <p:spPr>
                    <a:xfrm rot="173298">
                      <a:off x="11535888" y="876439"/>
                      <a:ext cx="1050588" cy="331192"/>
                    </a:xfrm>
                    <a:custGeom>
                      <a:avLst/>
                      <a:gdLst>
                        <a:gd name="connsiteX0" fmla="*/ 0 w 1050588"/>
                        <a:gd name="connsiteY0" fmla="*/ 348751 h 433246"/>
                        <a:gd name="connsiteX1" fmla="*/ 6539 w 1050588"/>
                        <a:gd name="connsiteY1" fmla="*/ 427218 h 433246"/>
                        <a:gd name="connsiteX2" fmla="*/ 778133 w 1050588"/>
                        <a:gd name="connsiteY2" fmla="*/ 381446 h 433246"/>
                        <a:gd name="connsiteX3" fmla="*/ 1050589 w 1050588"/>
                        <a:gd name="connsiteY3" fmla="*/ 124248 h 433246"/>
                        <a:gd name="connsiteX4" fmla="*/ 547091 w 1050588"/>
                        <a:gd name="connsiteY4" fmla="*/ 69757 h 433246"/>
                        <a:gd name="connsiteX5" fmla="*/ 0 w 1050588"/>
                        <a:gd name="connsiteY5" fmla="*/ 348751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0588" h="433246">
                          <a:moveTo>
                            <a:pt x="0" y="348751"/>
                          </a:moveTo>
                          <a:lnTo>
                            <a:pt x="6539" y="427218"/>
                          </a:lnTo>
                          <a:cubicBezTo>
                            <a:pt x="6539" y="427218"/>
                            <a:pt x="614660" y="457733"/>
                            <a:pt x="778133" y="381446"/>
                          </a:cubicBezTo>
                          <a:cubicBezTo>
                            <a:pt x="941607" y="302979"/>
                            <a:pt x="1044050" y="246308"/>
                            <a:pt x="1050589" y="124248"/>
                          </a:cubicBezTo>
                          <a:cubicBezTo>
                            <a:pt x="1039691" y="65397"/>
                            <a:pt x="924169" y="-89357"/>
                            <a:pt x="547091" y="69757"/>
                          </a:cubicBezTo>
                          <a:cubicBezTo>
                            <a:pt x="235402" y="217972"/>
                            <a:pt x="56671" y="300799"/>
                            <a:pt x="0" y="3487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8" name="Freihandform: Form 197">
                      <a:extLst>
                        <a:ext uri="{FF2B5EF4-FFF2-40B4-BE49-F238E27FC236}">
                          <a16:creationId xmlns:a16="http://schemas.microsoft.com/office/drawing/2014/main" id="{F5ACC607-6148-4223-8E09-57114ADEF5C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56950" y="1233524"/>
                      <a:ext cx="800989" cy="693531"/>
                    </a:xfrm>
                    <a:custGeom>
                      <a:avLst/>
                      <a:gdLst>
                        <a:gd name="connsiteX0" fmla="*/ 0 w 800989"/>
                        <a:gd name="connsiteY0" fmla="*/ 43593 h 693531"/>
                        <a:gd name="connsiteX1" fmla="*/ 488240 w 800989"/>
                        <a:gd name="connsiteY1" fmla="*/ 592863 h 693531"/>
                        <a:gd name="connsiteX2" fmla="*/ 789032 w 800989"/>
                        <a:gd name="connsiteY2" fmla="*/ 671331 h 693531"/>
                        <a:gd name="connsiteX3" fmla="*/ 514396 w 800989"/>
                        <a:gd name="connsiteY3" fmla="*/ 272456 h 693531"/>
                        <a:gd name="connsiteX4" fmla="*/ 37054 w 800989"/>
                        <a:gd name="connsiteY4" fmla="*/ 0 h 693531"/>
                        <a:gd name="connsiteX5" fmla="*/ 0 w 800989"/>
                        <a:gd name="connsiteY5" fmla="*/ 43593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0" y="43593"/>
                          </a:moveTo>
                          <a:cubicBezTo>
                            <a:pt x="0" y="43593"/>
                            <a:pt x="348743" y="507857"/>
                            <a:pt x="488240" y="592863"/>
                          </a:cubicBezTo>
                          <a:cubicBezTo>
                            <a:pt x="627738" y="677870"/>
                            <a:pt x="719283" y="723642"/>
                            <a:pt x="789032" y="671331"/>
                          </a:cubicBezTo>
                          <a:cubicBezTo>
                            <a:pt x="815187" y="634277"/>
                            <a:pt x="826085" y="475163"/>
                            <a:pt x="514396" y="272456"/>
                          </a:cubicBezTo>
                          <a:cubicBezTo>
                            <a:pt x="248480" y="113342"/>
                            <a:pt x="95904" y="21796"/>
                            <a:pt x="37054" y="0"/>
                          </a:cubicBezTo>
                          <a:lnTo>
                            <a:pt x="0" y="4359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9" name="Freihandform: Form 198">
                      <a:extLst>
                        <a:ext uri="{FF2B5EF4-FFF2-40B4-BE49-F238E27FC236}">
                          <a16:creationId xmlns:a16="http://schemas.microsoft.com/office/drawing/2014/main" id="{5F7989BE-C6AA-455C-8F02-C5806BB565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5096" y="1277117"/>
                      <a:ext cx="274679" cy="974301"/>
                    </a:xfrm>
                    <a:custGeom>
                      <a:avLst/>
                      <a:gdLst>
                        <a:gd name="connsiteX0" fmla="*/ 142620 w 274679"/>
                        <a:gd name="connsiteY0" fmla="*/ 0 h 974301"/>
                        <a:gd name="connsiteX1" fmla="*/ 85949 w 274679"/>
                        <a:gd name="connsiteY1" fmla="*/ 0 h 974301"/>
                        <a:gd name="connsiteX2" fmla="*/ 5302 w 274679"/>
                        <a:gd name="connsiteY2" fmla="*/ 704025 h 974301"/>
                        <a:gd name="connsiteX3" fmla="*/ 146979 w 274679"/>
                        <a:gd name="connsiteY3" fmla="*/ 974301 h 974301"/>
                        <a:gd name="connsiteX4" fmla="*/ 260321 w 274679"/>
                        <a:gd name="connsiteY4" fmla="*/ 523115 h 974301"/>
                        <a:gd name="connsiteX5" fmla="*/ 142620 w 274679"/>
                        <a:gd name="connsiteY5" fmla="*/ 0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42620" y="0"/>
                          </a:moveTo>
                          <a:lnTo>
                            <a:pt x="85949" y="0"/>
                          </a:lnTo>
                          <a:cubicBezTo>
                            <a:pt x="85949" y="0"/>
                            <a:pt x="-25213" y="549270"/>
                            <a:pt x="5302" y="704025"/>
                          </a:cubicBezTo>
                          <a:cubicBezTo>
                            <a:pt x="35817" y="858780"/>
                            <a:pt x="61973" y="956864"/>
                            <a:pt x="146979" y="974301"/>
                          </a:cubicBezTo>
                          <a:cubicBezTo>
                            <a:pt x="190572" y="969942"/>
                            <a:pt x="316991" y="878397"/>
                            <a:pt x="260321" y="523115"/>
                          </a:cubicBezTo>
                          <a:cubicBezTo>
                            <a:pt x="201470" y="226683"/>
                            <a:pt x="166596" y="56671"/>
                            <a:pt x="142620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0" name="Freihandform: Form 199">
                      <a:extLst>
                        <a:ext uri="{FF2B5EF4-FFF2-40B4-BE49-F238E27FC236}">
                          <a16:creationId xmlns:a16="http://schemas.microsoft.com/office/drawing/2014/main" id="{11FA48EF-906B-4136-9C8F-E3867EAB22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22524" y="1256269"/>
                      <a:ext cx="462825" cy="906861"/>
                    </a:xfrm>
                    <a:custGeom>
                      <a:avLst/>
                      <a:gdLst>
                        <a:gd name="connsiteX0" fmla="*/ 52311 w 462825"/>
                        <a:gd name="connsiteY0" fmla="*/ 0 h 906861"/>
                        <a:gd name="connsiteX1" fmla="*/ 0 w 462825"/>
                        <a:gd name="connsiteY1" fmla="*/ 19617 h 906861"/>
                        <a:gd name="connsiteX2" fmla="*/ 180911 w 462825"/>
                        <a:gd name="connsiteY2" fmla="*/ 706205 h 906861"/>
                        <a:gd name="connsiteX3" fmla="*/ 409773 w 462825"/>
                        <a:gd name="connsiteY3" fmla="*/ 904553 h 906861"/>
                        <a:gd name="connsiteX4" fmla="*/ 348743 w 462825"/>
                        <a:gd name="connsiteY4" fmla="*/ 442468 h 906861"/>
                        <a:gd name="connsiteX5" fmla="*/ 52311 w 462825"/>
                        <a:gd name="connsiteY5" fmla="*/ 0 h 90686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6861">
                          <a:moveTo>
                            <a:pt x="52311" y="0"/>
                          </a:moveTo>
                          <a:lnTo>
                            <a:pt x="0" y="19617"/>
                          </a:lnTo>
                          <a:cubicBezTo>
                            <a:pt x="0" y="19617"/>
                            <a:pt x="95904" y="573247"/>
                            <a:pt x="180911" y="706205"/>
                          </a:cubicBezTo>
                          <a:cubicBezTo>
                            <a:pt x="265917" y="839163"/>
                            <a:pt x="326947" y="921990"/>
                            <a:pt x="409773" y="904553"/>
                          </a:cubicBezTo>
                          <a:cubicBezTo>
                            <a:pt x="449007" y="884936"/>
                            <a:pt x="531833" y="751978"/>
                            <a:pt x="348743" y="442468"/>
                          </a:cubicBezTo>
                          <a:cubicBezTo>
                            <a:pt x="189629" y="189629"/>
                            <a:pt x="95904" y="43593"/>
                            <a:pt x="52311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1" name="Freihandform: Form 200">
                      <a:extLst>
                        <a:ext uri="{FF2B5EF4-FFF2-40B4-BE49-F238E27FC236}">
                          <a16:creationId xmlns:a16="http://schemas.microsoft.com/office/drawing/2014/main" id="{6A2725EB-229C-444A-BD1F-1D8076F581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50217" y="1226985"/>
                      <a:ext cx="784672" cy="662868"/>
                    </a:xfrm>
                    <a:custGeom>
                      <a:avLst/>
                      <a:gdLst>
                        <a:gd name="connsiteX0" fmla="*/ 440288 w 784672"/>
                        <a:gd name="connsiteY0" fmla="*/ 453366 h 662868"/>
                        <a:gd name="connsiteX1" fmla="*/ 784672 w 784672"/>
                        <a:gd name="connsiteY1" fmla="*/ 45773 h 662868"/>
                        <a:gd name="connsiteX2" fmla="*/ 749798 w 784672"/>
                        <a:gd name="connsiteY2" fmla="*/ 0 h 662868"/>
                        <a:gd name="connsiteX3" fmla="*/ 139497 w 784672"/>
                        <a:gd name="connsiteY3" fmla="*/ 361821 h 662868"/>
                        <a:gd name="connsiteX4" fmla="*/ 10898 w 784672"/>
                        <a:gd name="connsiteY4" fmla="*/ 636456 h 662868"/>
                        <a:gd name="connsiteX5" fmla="*/ 440288 w 784672"/>
                        <a:gd name="connsiteY5" fmla="*/ 453366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440288" y="453366"/>
                          </a:moveTo>
                          <a:cubicBezTo>
                            <a:pt x="638636" y="228863"/>
                            <a:pt x="754157" y="100264"/>
                            <a:pt x="784672" y="45773"/>
                          </a:cubicBezTo>
                          <a:lnTo>
                            <a:pt x="749798" y="0"/>
                          </a:lnTo>
                          <a:cubicBezTo>
                            <a:pt x="749798" y="0"/>
                            <a:pt x="244120" y="244120"/>
                            <a:pt x="139497" y="361821"/>
                          </a:cubicBezTo>
                          <a:cubicBezTo>
                            <a:pt x="34874" y="479522"/>
                            <a:pt x="-26156" y="560169"/>
                            <a:pt x="10898" y="636456"/>
                          </a:cubicBezTo>
                          <a:cubicBezTo>
                            <a:pt x="41413" y="671331"/>
                            <a:pt x="191809" y="714924"/>
                            <a:pt x="440288" y="45336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2" name="Freihandform: Form 201">
                      <a:extLst>
                        <a:ext uri="{FF2B5EF4-FFF2-40B4-BE49-F238E27FC236}">
                          <a16:creationId xmlns:a16="http://schemas.microsoft.com/office/drawing/2014/main" id="{53405413-BC7B-4D2F-915E-C5CF4E5ED1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51817" y="1240063"/>
                      <a:ext cx="424485" cy="912038"/>
                    </a:xfrm>
                    <a:custGeom>
                      <a:avLst/>
                      <a:gdLst>
                        <a:gd name="connsiteX0" fmla="*/ 317683 w 424485"/>
                        <a:gd name="connsiteY0" fmla="*/ 531833 h 912038"/>
                        <a:gd name="connsiteX1" fmla="*/ 424486 w 424485"/>
                        <a:gd name="connsiteY1" fmla="*/ 17437 h 912038"/>
                        <a:gd name="connsiteX2" fmla="*/ 376534 w 424485"/>
                        <a:gd name="connsiteY2" fmla="*/ 0 h 912038"/>
                        <a:gd name="connsiteX3" fmla="*/ 29970 w 424485"/>
                        <a:gd name="connsiteY3" fmla="*/ 619019 h 912038"/>
                        <a:gd name="connsiteX4" fmla="*/ 45228 w 424485"/>
                        <a:gd name="connsiteY4" fmla="*/ 911092 h 912038"/>
                        <a:gd name="connsiteX5" fmla="*/ 317683 w 424485"/>
                        <a:gd name="connsiteY5" fmla="*/ 531833 h 9120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38">
                          <a:moveTo>
                            <a:pt x="317683" y="531833"/>
                          </a:moveTo>
                          <a:cubicBezTo>
                            <a:pt x="383073" y="241941"/>
                            <a:pt x="422306" y="76288"/>
                            <a:pt x="424486" y="17437"/>
                          </a:cubicBezTo>
                          <a:lnTo>
                            <a:pt x="376534" y="0"/>
                          </a:lnTo>
                          <a:cubicBezTo>
                            <a:pt x="376534" y="0"/>
                            <a:pt x="64844" y="466444"/>
                            <a:pt x="29970" y="619019"/>
                          </a:cubicBezTo>
                          <a:cubicBezTo>
                            <a:pt x="-4904" y="769415"/>
                            <a:pt x="-20162" y="867499"/>
                            <a:pt x="45228" y="911092"/>
                          </a:cubicBezTo>
                          <a:cubicBezTo>
                            <a:pt x="82282" y="919810"/>
                            <a:pt x="226138" y="874038"/>
                            <a:pt x="317683" y="53183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9" name="Freihandform: Form 172">
                  <a:extLst>
                    <a:ext uri="{FF2B5EF4-FFF2-40B4-BE49-F238E27FC236}">
                      <a16:creationId xmlns:a16="http://schemas.microsoft.com/office/drawing/2014/main" id="{367A1EAC-79AF-4176-94D6-E222773157F9}"/>
                    </a:ext>
                  </a:extLst>
                </p:cNvPr>
                <p:cNvSpPr/>
                <p:nvPr/>
              </p:nvSpPr>
              <p:spPr>
                <a:xfrm>
                  <a:off x="11282314" y="978505"/>
                  <a:ext cx="414132" cy="396695"/>
                </a:xfrm>
                <a:custGeom>
                  <a:avLst/>
                  <a:gdLst>
                    <a:gd name="connsiteX0" fmla="*/ 414133 w 414132"/>
                    <a:gd name="connsiteY0" fmla="*/ 198348 h 396695"/>
                    <a:gd name="connsiteX1" fmla="*/ 207066 w 414132"/>
                    <a:gd name="connsiteY1" fmla="*/ 396695 h 396695"/>
                    <a:gd name="connsiteX2" fmla="*/ 0 w 414132"/>
                    <a:gd name="connsiteY2" fmla="*/ 198348 h 396695"/>
                    <a:gd name="connsiteX3" fmla="*/ 207066 w 414132"/>
                    <a:gd name="connsiteY3" fmla="*/ 0 h 396695"/>
                    <a:gd name="connsiteX4" fmla="*/ 414133 w 414132"/>
                    <a:gd name="connsiteY4" fmla="*/ 198348 h 396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4132" h="396695">
                      <a:moveTo>
                        <a:pt x="414133" y="198348"/>
                      </a:moveTo>
                      <a:cubicBezTo>
                        <a:pt x="414133" y="307330"/>
                        <a:pt x="322587" y="396695"/>
                        <a:pt x="207066" y="396695"/>
                      </a:cubicBezTo>
                      <a:cubicBezTo>
                        <a:pt x="93725" y="396695"/>
                        <a:pt x="0" y="307330"/>
                        <a:pt x="0" y="198348"/>
                      </a:cubicBezTo>
                      <a:cubicBezTo>
                        <a:pt x="0" y="89365"/>
                        <a:pt x="91545" y="0"/>
                        <a:pt x="207066" y="0"/>
                      </a:cubicBezTo>
                      <a:cubicBezTo>
                        <a:pt x="320408" y="0"/>
                        <a:pt x="414133" y="89365"/>
                        <a:pt x="414133" y="198348"/>
                      </a:cubicBezTo>
                      <a:close/>
                    </a:path>
                  </a:pathLst>
                </a:custGeom>
                <a:solidFill>
                  <a:srgbClr val="FFBB00"/>
                </a:solidFill>
                <a:ln w="2177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6" name="Ellipse 170">
                <a:extLst>
                  <a:ext uri="{FF2B5EF4-FFF2-40B4-BE49-F238E27FC236}">
                    <a16:creationId xmlns:a16="http://schemas.microsoft.com/office/drawing/2014/main" id="{21452493-90A6-417D-BCA1-3D4C161E87A5}"/>
                  </a:ext>
                </a:extLst>
              </p:cNvPr>
              <p:cNvSpPr/>
              <p:nvPr/>
            </p:nvSpPr>
            <p:spPr bwMode="gray">
              <a:xfrm>
                <a:off x="11227609" y="960958"/>
                <a:ext cx="403666" cy="382238"/>
              </a:xfrm>
              <a:prstGeom prst="ellipse">
                <a:avLst/>
              </a:prstGeom>
              <a:solidFill>
                <a:srgbClr val="FFD066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0000"/>
                  </a:lnSpc>
                </a:pPr>
                <a:endParaRPr lang="de-DE" sz="1600">
                  <a:solidFill>
                    <a:srgbClr val="FFD066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427430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FFEF67-E1A5-46F0-B3D1-61B283B93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CH" sz="16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FFEBC078-840D-496B-951C-4D85E87523F4}"/>
              </a:ext>
            </a:extLst>
          </p:cNvPr>
          <p:cNvSpPr txBox="1">
            <a:spLocks/>
          </p:cNvSpPr>
          <p:nvPr/>
        </p:nvSpPr>
        <p:spPr bwMode="black">
          <a:xfrm>
            <a:off x="1577740" y="1170179"/>
            <a:ext cx="5616000" cy="333163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From Network Analytics Postmortems we understood that roughly 50% of the major network incidents are configuration related.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dirty="0">
                <a:solidFill>
                  <a:srgbClr val="333333"/>
                </a:solidFill>
                <a:latin typeface="TheSans Swisscom Light"/>
              </a:rPr>
              <a:t>Network engineers </a:t>
            </a: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unable to understand all the end-to-end dependencies on all the layers </a:t>
            </a:r>
            <a:r>
              <a:rPr lang="en-US" sz="2400" dirty="0">
                <a:solidFill>
                  <a:srgbClr val="333333"/>
                </a:solidFill>
                <a:latin typeface="TheSans Swisscom Light"/>
              </a:rPr>
              <a:t>in highly virtualized networks.</a:t>
            </a:r>
            <a:endParaRPr kumimoji="0" lang="en-US" sz="2400" b="1" i="0" u="none" strike="noStrike" kern="1200" cap="none" spc="-5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3200" b="1" i="0" u="none" strike="noStrike" kern="1200" cap="none" spc="-5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B65E8382-D249-4EAA-945F-BE4D472F3160}"/>
              </a:ext>
            </a:extLst>
          </p:cNvPr>
          <p:cNvSpPr txBox="1">
            <a:spLocks/>
          </p:cNvSpPr>
          <p:nvPr/>
        </p:nvSpPr>
        <p:spPr bwMode="black">
          <a:xfrm rot="10800000">
            <a:off x="7380857" y="3689849"/>
            <a:ext cx="504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91558629-AEE2-40B0-82F9-7CB0723A1A19}"/>
              </a:ext>
            </a:extLst>
          </p:cNvPr>
          <p:cNvSpPr txBox="1">
            <a:spLocks/>
          </p:cNvSpPr>
          <p:nvPr/>
        </p:nvSpPr>
        <p:spPr bwMode="black">
          <a:xfrm>
            <a:off x="742623" y="1040441"/>
            <a:ext cx="648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4229C52-005A-4F3A-826D-8B06B8B911BD}"/>
              </a:ext>
            </a:extLst>
          </p:cNvPr>
          <p:cNvSpPr txBox="1">
            <a:spLocks/>
          </p:cNvSpPr>
          <p:nvPr/>
        </p:nvSpPr>
        <p:spPr bwMode="black">
          <a:xfrm>
            <a:off x="929740" y="5157000"/>
            <a:ext cx="6264000" cy="12247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homas Graf</a:t>
            </a:r>
          </a:p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Distinguished Network Engineer </a:t>
            </a:r>
          </a:p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nd Network Analytics Architect at Swisscom 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pic>
        <p:nvPicPr>
          <p:cNvPr id="8" name="Picture Placeholder 8">
            <a:extLst>
              <a:ext uri="{FF2B5EF4-FFF2-40B4-BE49-F238E27FC236}">
                <a16:creationId xmlns:a16="http://schemas.microsoft.com/office/drawing/2014/main" id="{68405047-376C-4457-A3CF-843CB4E933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00" r="20350"/>
          <a:stretch/>
        </p:blipFill>
        <p:spPr>
          <a:xfrm>
            <a:off x="8399724" y="0"/>
            <a:ext cx="331012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2046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FFEF67-E1A5-46F0-B3D1-61B283B93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CH" sz="16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FFEBC078-840D-496B-951C-4D85E87523F4}"/>
              </a:ext>
            </a:extLst>
          </p:cNvPr>
          <p:cNvSpPr txBox="1">
            <a:spLocks/>
          </p:cNvSpPr>
          <p:nvPr/>
        </p:nvSpPr>
        <p:spPr bwMode="black">
          <a:xfrm>
            <a:off x="5448000" y="1386180"/>
            <a:ext cx="5616000" cy="28179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Within </a:t>
            </a:r>
            <a:r>
              <a:rPr lang="en-US" sz="2400" dirty="0">
                <a:solidFill>
                  <a:srgbClr val="333333"/>
                </a:solidFill>
                <a:latin typeface="TheSans Swisscom Light"/>
              </a:rPr>
              <a:t>an 8 months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Network Anomaly Detection </a:t>
            </a:r>
            <a:r>
              <a:rPr lang="en-US" sz="2400" dirty="0">
                <a:solidFill>
                  <a:srgbClr val="333333"/>
                </a:solidFill>
                <a:latin typeface="TheSans Swisscom Light"/>
              </a:rPr>
              <a:t>Proof of Concept, we observed that reaction times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o operational and configurational changes in the network</a:t>
            </a:r>
            <a:r>
              <a:rPr lang="en-US" sz="2400" dirty="0">
                <a:solidFill>
                  <a:srgbClr val="333333"/>
                </a:solidFill>
                <a:latin typeface="TheSans Swisscom Light"/>
              </a:rPr>
              <a:t> was reduced,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ut also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nitial context helped to quicker identify the root cause.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To further improve, </a:t>
            </a:r>
            <a:r>
              <a:rPr lang="en-US" sz="2400" dirty="0" err="1">
                <a:solidFill>
                  <a:srgbClr val="FF0000"/>
                </a:solidFill>
                <a:latin typeface="TheSans Swisscom Light"/>
              </a:rPr>
              <a:t>ietf-network.yang</a:t>
            </a: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 and </a:t>
            </a:r>
            <a:r>
              <a:rPr lang="en-US" sz="2400" dirty="0" err="1">
                <a:solidFill>
                  <a:srgbClr val="FF0000"/>
                </a:solidFill>
                <a:latin typeface="TheSans Swisscom Light"/>
              </a:rPr>
              <a:t>ietf</a:t>
            </a: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-network-</a:t>
            </a:r>
            <a:r>
              <a:rPr lang="en-US" sz="2400" dirty="0" err="1">
                <a:solidFill>
                  <a:srgbClr val="FF0000"/>
                </a:solidFill>
                <a:latin typeface="TheSans Swisscom Light"/>
              </a:rPr>
              <a:t>topology.yang</a:t>
            </a: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 defined in RFC 8345 details network modelling, especially on configurational aspects.</a:t>
            </a:r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B65E8382-D249-4EAA-945F-BE4D472F3160}"/>
              </a:ext>
            </a:extLst>
          </p:cNvPr>
          <p:cNvSpPr txBox="1">
            <a:spLocks/>
          </p:cNvSpPr>
          <p:nvPr/>
        </p:nvSpPr>
        <p:spPr bwMode="black">
          <a:xfrm rot="10800000">
            <a:off x="11346223" y="3776342"/>
            <a:ext cx="504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91558629-AEE2-40B0-82F9-7CB0723A1A19}"/>
              </a:ext>
            </a:extLst>
          </p:cNvPr>
          <p:cNvSpPr txBox="1">
            <a:spLocks/>
          </p:cNvSpPr>
          <p:nvPr/>
        </p:nvSpPr>
        <p:spPr bwMode="black">
          <a:xfrm>
            <a:off x="4800000" y="1301120"/>
            <a:ext cx="648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4229C52-005A-4F3A-826D-8B06B8B911BD}"/>
              </a:ext>
            </a:extLst>
          </p:cNvPr>
          <p:cNvSpPr txBox="1">
            <a:spLocks/>
          </p:cNvSpPr>
          <p:nvPr/>
        </p:nvSpPr>
        <p:spPr bwMode="black">
          <a:xfrm>
            <a:off x="4800000" y="5157000"/>
            <a:ext cx="6264000" cy="12247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homas Graf</a:t>
            </a:r>
          </a:p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Distinguished Network Engineer </a:t>
            </a:r>
          </a:p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nd Network Analytics Architect at Swisscom 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pic>
        <p:nvPicPr>
          <p:cNvPr id="6" name="Picture 5" descr="A picture containing person, person, outdoor, concrete&#10;&#10;Description automatically generated">
            <a:extLst>
              <a:ext uri="{FF2B5EF4-FFF2-40B4-BE49-F238E27FC236}">
                <a16:creationId xmlns:a16="http://schemas.microsoft.com/office/drawing/2014/main" id="{AFE16EF3-7433-40D2-8973-A43D996869B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33" r="35688"/>
          <a:stretch/>
        </p:blipFill>
        <p:spPr>
          <a:xfrm>
            <a:off x="1201777" y="0"/>
            <a:ext cx="331012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3493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FFEF67-E1A5-46F0-B3D1-61B283B93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CH" sz="16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FFEBC078-840D-496B-951C-4D85E87523F4}"/>
              </a:ext>
            </a:extLst>
          </p:cNvPr>
          <p:cNvSpPr txBox="1">
            <a:spLocks/>
          </p:cNvSpPr>
          <p:nvPr/>
        </p:nvSpPr>
        <p:spPr bwMode="black">
          <a:xfrm>
            <a:off x="1577740" y="1170179"/>
            <a:ext cx="5616000" cy="333163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he Digital Map, draft-</a:t>
            </a:r>
            <a:r>
              <a:rPr kumimoji="0" lang="en-US" sz="2400" b="1" i="0" u="none" strike="noStrike" kern="1200" cap="none" spc="-5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havel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-opsawg-digital-map, points correctly out </a:t>
            </a: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that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missing Bidirectional links and support for Multi-point connectivity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n RFC 8345 </a:t>
            </a:r>
            <a:r>
              <a:rPr lang="en-US" sz="2400" dirty="0" err="1">
                <a:solidFill>
                  <a:srgbClr val="FF0000"/>
                </a:solidFill>
                <a:latin typeface="TheSans Swisscom Light"/>
              </a:rPr>
              <a:t>ietf</a:t>
            </a: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-network-</a:t>
            </a:r>
            <a:r>
              <a:rPr lang="en-US" sz="2400" dirty="0" err="1">
                <a:solidFill>
                  <a:srgbClr val="FF0000"/>
                </a:solidFill>
                <a:latin typeface="TheSans Swisscom Light"/>
              </a:rPr>
              <a:t>topology.yang</a:t>
            </a:r>
            <a:r>
              <a:rPr lang="en-US" sz="2400">
                <a:solidFill>
                  <a:srgbClr val="FF0000"/>
                </a:solidFill>
                <a:latin typeface="TheSans Swisscom Light"/>
              </a:rPr>
              <a:t> </a:t>
            </a:r>
            <a:r>
              <a:rPr kumimoji="0" lang="en-US" sz="2400" b="1" i="0" u="none" strike="noStrike" kern="1200" cap="none" spc="-5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akes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he implementation rather complicated or even renders certain topologies as unusable.</a:t>
            </a:r>
            <a:endParaRPr kumimoji="0" lang="en-US" sz="3200" b="1" i="0" u="none" strike="noStrike" kern="1200" cap="none" spc="-5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B65E8382-D249-4EAA-945F-BE4D472F3160}"/>
              </a:ext>
            </a:extLst>
          </p:cNvPr>
          <p:cNvSpPr txBox="1">
            <a:spLocks/>
          </p:cNvSpPr>
          <p:nvPr/>
        </p:nvSpPr>
        <p:spPr bwMode="black">
          <a:xfrm rot="10800000">
            <a:off x="7380857" y="3689849"/>
            <a:ext cx="504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91558629-AEE2-40B0-82F9-7CB0723A1A19}"/>
              </a:ext>
            </a:extLst>
          </p:cNvPr>
          <p:cNvSpPr txBox="1">
            <a:spLocks/>
          </p:cNvSpPr>
          <p:nvPr/>
        </p:nvSpPr>
        <p:spPr bwMode="black">
          <a:xfrm>
            <a:off x="742623" y="1040441"/>
            <a:ext cx="648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pic>
        <p:nvPicPr>
          <p:cNvPr id="7" name="Grafik 12">
            <a:extLst>
              <a:ext uri="{FF2B5EF4-FFF2-40B4-BE49-F238E27FC236}">
                <a16:creationId xmlns:a16="http://schemas.microsoft.com/office/drawing/2014/main" id="{AF6B45BE-4D0E-B9AA-FD05-3B46ADC3FED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7496" t="8163" r="19856" b="21450"/>
          <a:stretch/>
        </p:blipFill>
        <p:spPr>
          <a:xfrm>
            <a:off x="8403336" y="0"/>
            <a:ext cx="331012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3255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FFEF67-E1A5-46F0-B3D1-61B283B93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CH" sz="16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FFEBC078-840D-496B-951C-4D85E87523F4}"/>
              </a:ext>
            </a:extLst>
          </p:cNvPr>
          <p:cNvSpPr txBox="1">
            <a:spLocks/>
          </p:cNvSpPr>
          <p:nvPr/>
        </p:nvSpPr>
        <p:spPr bwMode="black">
          <a:xfrm>
            <a:off x="5448000" y="1386180"/>
            <a:ext cx="5616000" cy="28179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nd finally, and most importantly, with the Digital Map network modelling, </a:t>
            </a: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the foundation for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imulating network configuration changes in lab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s at reach. Preventing networking incidents </a:t>
            </a:r>
            <a:r>
              <a:rPr kumimoji="0" lang="en-US" sz="2400" b="1" i="0" u="none" strike="noStrike" kern="1200" cap="none" spc="-5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from even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happening.</a:t>
            </a:r>
            <a:endParaRPr kumimoji="0" lang="en-US" sz="2400" b="1" i="0" u="none" strike="noStrike" kern="1200" cap="none" spc="-5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Resolving </a:t>
            </a:r>
            <a:r>
              <a:rPr lang="en-US" sz="2400" dirty="0">
                <a:solidFill>
                  <a:srgbClr val="FF0000"/>
                </a:solidFill>
                <a:latin typeface="TheSans Swisscom Light"/>
              </a:rPr>
              <a:t>the problem that lab environments are never identical to production network.  </a:t>
            </a:r>
            <a:endParaRPr kumimoji="0" lang="en-US" sz="2400" b="1" i="0" u="none" strike="noStrike" kern="1200" cap="none" spc="-5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B65E8382-D249-4EAA-945F-BE4D472F3160}"/>
              </a:ext>
            </a:extLst>
          </p:cNvPr>
          <p:cNvSpPr txBox="1">
            <a:spLocks/>
          </p:cNvSpPr>
          <p:nvPr/>
        </p:nvSpPr>
        <p:spPr bwMode="black">
          <a:xfrm rot="10800000">
            <a:off x="11346223" y="3776342"/>
            <a:ext cx="504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91558629-AEE2-40B0-82F9-7CB0723A1A19}"/>
              </a:ext>
            </a:extLst>
          </p:cNvPr>
          <p:cNvSpPr txBox="1">
            <a:spLocks/>
          </p:cNvSpPr>
          <p:nvPr/>
        </p:nvSpPr>
        <p:spPr bwMode="black">
          <a:xfrm>
            <a:off x="4800000" y="1301120"/>
            <a:ext cx="648000" cy="432000"/>
          </a:xfrm>
          <a:prstGeom prst="rect">
            <a:avLst/>
          </a:prstGeom>
        </p:spPr>
        <p:txBody>
          <a:bodyPr vert="horz" lIns="0" tIns="28800" rIns="0" bIns="28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j-ea"/>
                <a:cs typeface="+mj-cs"/>
              </a:rPr>
              <a:t>«</a:t>
            </a:r>
          </a:p>
        </p:txBody>
      </p:sp>
      <p:pic>
        <p:nvPicPr>
          <p:cNvPr id="3" name="Bildplatzhalter 5">
            <a:extLst>
              <a:ext uri="{FF2B5EF4-FFF2-40B4-BE49-F238E27FC236}">
                <a16:creationId xmlns:a16="http://schemas.microsoft.com/office/drawing/2014/main" id="{4C3BF9F6-C7E5-D000-B6C8-04EB420FE9E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13" t="9162" r="47124" b="1432"/>
          <a:stretch/>
        </p:blipFill>
        <p:spPr>
          <a:xfrm flipH="1">
            <a:off x="1207649" y="0"/>
            <a:ext cx="331012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179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17A6DA17-156A-4F5E-B81C-D64FF1E7B8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de-CH" smtClean="0"/>
              <a:pPr/>
              <a:t>9</a:t>
            </a:fld>
            <a:endParaRPr lang="de-CH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7209106-683C-4E8E-9C26-ED12DED9E902}"/>
              </a:ext>
            </a:extLst>
          </p:cNvPr>
          <p:cNvGrpSpPr/>
          <p:nvPr/>
        </p:nvGrpSpPr>
        <p:grpSpPr>
          <a:xfrm>
            <a:off x="4750838" y="5180742"/>
            <a:ext cx="2690324" cy="724949"/>
            <a:chOff x="8955783" y="324085"/>
            <a:chExt cx="2690324" cy="724949"/>
          </a:xfrm>
        </p:grpSpPr>
        <p:grpSp>
          <p:nvGrpSpPr>
            <p:cNvPr id="11" name="Gruppieren 168">
              <a:extLst>
                <a:ext uri="{FF2B5EF4-FFF2-40B4-BE49-F238E27FC236}">
                  <a16:creationId xmlns:a16="http://schemas.microsoft.com/office/drawing/2014/main" id="{14DC1D05-0086-4C2B-8E18-ABD9BF1D37D8}"/>
                </a:ext>
              </a:extLst>
            </p:cNvPr>
            <p:cNvGrpSpPr/>
            <p:nvPr/>
          </p:nvGrpSpPr>
          <p:grpSpPr>
            <a:xfrm>
              <a:off x="8955783" y="324085"/>
              <a:ext cx="702670" cy="712587"/>
              <a:chOff x="10366017" y="30973"/>
              <a:chExt cx="2246316" cy="2278019"/>
            </a:xfrm>
          </p:grpSpPr>
          <p:grpSp>
            <p:nvGrpSpPr>
              <p:cNvPr id="86" name="Grafik 5">
                <a:extLst>
                  <a:ext uri="{FF2B5EF4-FFF2-40B4-BE49-F238E27FC236}">
                    <a16:creationId xmlns:a16="http://schemas.microsoft.com/office/drawing/2014/main" id="{B82DDF56-43C4-4D1B-8671-9D28D6A7C88F}"/>
                  </a:ext>
                </a:extLst>
              </p:cNvPr>
              <p:cNvGrpSpPr/>
              <p:nvPr/>
            </p:nvGrpSpPr>
            <p:grpSpPr>
              <a:xfrm>
                <a:off x="10366017" y="30973"/>
                <a:ext cx="2246316" cy="2278019"/>
                <a:chOff x="10396141" y="22604"/>
                <a:chExt cx="2246316" cy="2278019"/>
              </a:xfrm>
            </p:grpSpPr>
            <p:grpSp>
              <p:nvGrpSpPr>
                <p:cNvPr id="88" name="Grafik 5">
                  <a:extLst>
                    <a:ext uri="{FF2B5EF4-FFF2-40B4-BE49-F238E27FC236}">
                      <a16:creationId xmlns:a16="http://schemas.microsoft.com/office/drawing/2014/main" id="{5BE20CCA-C28C-41E2-86CE-5B23E5F93D3D}"/>
                    </a:ext>
                  </a:extLst>
                </p:cNvPr>
                <p:cNvGrpSpPr/>
                <p:nvPr/>
              </p:nvGrpSpPr>
              <p:grpSpPr>
                <a:xfrm>
                  <a:off x="10396141" y="22604"/>
                  <a:ext cx="2246316" cy="2278019"/>
                  <a:chOff x="10396141" y="22604"/>
                  <a:chExt cx="2246316" cy="2278019"/>
                </a:xfrm>
              </p:grpSpPr>
              <p:sp>
                <p:nvSpPr>
                  <p:cNvPr id="90" name="Freihandform: Form 173">
                    <a:extLst>
                      <a:ext uri="{FF2B5EF4-FFF2-40B4-BE49-F238E27FC236}">
                        <a16:creationId xmlns:a16="http://schemas.microsoft.com/office/drawing/2014/main" id="{7C9C6FB6-AEB5-4CA9-8EE9-FE7C2E144E6F}"/>
                      </a:ext>
                    </a:extLst>
                  </p:cNvPr>
                  <p:cNvSpPr/>
                  <p:nvPr/>
                </p:nvSpPr>
                <p:spPr>
                  <a:xfrm>
                    <a:off x="11561309" y="346257"/>
                    <a:ext cx="822081" cy="810979"/>
                  </a:xfrm>
                  <a:custGeom>
                    <a:avLst/>
                    <a:gdLst>
                      <a:gd name="connsiteX0" fmla="*/ 0 w 822081"/>
                      <a:gd name="connsiteY0" fmla="*/ 769566 h 810979"/>
                      <a:gd name="connsiteX1" fmla="*/ 41413 w 822081"/>
                      <a:gd name="connsiteY1" fmla="*/ 810980 h 810979"/>
                      <a:gd name="connsiteX2" fmla="*/ 686588 w 822081"/>
                      <a:gd name="connsiteY2" fmla="*/ 329278 h 810979"/>
                      <a:gd name="connsiteX3" fmla="*/ 804289 w 822081"/>
                      <a:gd name="connsiteY3" fmla="*/ 15409 h 810979"/>
                      <a:gd name="connsiteX4" fmla="*/ 344384 w 822081"/>
                      <a:gd name="connsiteY4" fmla="*/ 279146 h 810979"/>
                      <a:gd name="connsiteX5" fmla="*/ 0 w 822081"/>
                      <a:gd name="connsiteY5" fmla="*/ 769566 h 8109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10979">
                        <a:moveTo>
                          <a:pt x="0" y="769566"/>
                        </a:moveTo>
                        <a:lnTo>
                          <a:pt x="41413" y="810980"/>
                        </a:lnTo>
                        <a:cubicBezTo>
                          <a:pt x="41413" y="810980"/>
                          <a:pt x="579786" y="470955"/>
                          <a:pt x="686588" y="329278"/>
                        </a:cubicBezTo>
                        <a:cubicBezTo>
                          <a:pt x="793391" y="187601"/>
                          <a:pt x="854421" y="91697"/>
                          <a:pt x="804289" y="15409"/>
                        </a:cubicBezTo>
                        <a:cubicBezTo>
                          <a:pt x="767235" y="-12926"/>
                          <a:pt x="597223" y="-36902"/>
                          <a:pt x="344384" y="279146"/>
                        </a:cubicBezTo>
                        <a:cubicBezTo>
                          <a:pt x="143857" y="553782"/>
                          <a:pt x="28335" y="708536"/>
                          <a:pt x="0" y="769566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1" name="Freihandform: Form 174">
                    <a:extLst>
                      <a:ext uri="{FF2B5EF4-FFF2-40B4-BE49-F238E27FC236}">
                        <a16:creationId xmlns:a16="http://schemas.microsoft.com/office/drawing/2014/main" id="{A5A1DFB5-3D1A-4C63-9F47-2944EDE19907}"/>
                      </a:ext>
                    </a:extLst>
                  </p:cNvPr>
                  <p:cNvSpPr/>
                  <p:nvPr/>
                </p:nvSpPr>
                <p:spPr>
                  <a:xfrm>
                    <a:off x="11584523" y="64140"/>
                    <a:ext cx="447589" cy="1112779"/>
                  </a:xfrm>
                  <a:custGeom>
                    <a:avLst/>
                    <a:gdLst>
                      <a:gd name="connsiteX0" fmla="*/ 4393 w 447589"/>
                      <a:gd name="connsiteY0" fmla="*/ 1077905 h 1112779"/>
                      <a:gd name="connsiteX1" fmla="*/ 78501 w 447589"/>
                      <a:gd name="connsiteY1" fmla="*/ 1112779 h 1112779"/>
                      <a:gd name="connsiteX2" fmla="*/ 440322 w 447589"/>
                      <a:gd name="connsiteY2" fmla="*/ 389137 h 1112779"/>
                      <a:gd name="connsiteX3" fmla="*/ 350957 w 447589"/>
                      <a:gd name="connsiteY3" fmla="*/ 5520 h 1112779"/>
                      <a:gd name="connsiteX4" fmla="*/ 39268 w 447589"/>
                      <a:gd name="connsiteY4" fmla="*/ 432730 h 1112779"/>
                      <a:gd name="connsiteX5" fmla="*/ 4393 w 447589"/>
                      <a:gd name="connsiteY5" fmla="*/ 1077905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7589" h="1112779">
                        <a:moveTo>
                          <a:pt x="4393" y="1077905"/>
                        </a:moveTo>
                        <a:lnTo>
                          <a:pt x="78501" y="1112779"/>
                        </a:lnTo>
                        <a:cubicBezTo>
                          <a:pt x="78501" y="1112779"/>
                          <a:pt x="425065" y="576587"/>
                          <a:pt x="440322" y="389137"/>
                        </a:cubicBezTo>
                        <a:cubicBezTo>
                          <a:pt x="455580" y="199508"/>
                          <a:pt x="455580" y="77448"/>
                          <a:pt x="350957" y="5520"/>
                        </a:cubicBezTo>
                        <a:cubicBezTo>
                          <a:pt x="292106" y="-16277"/>
                          <a:pt x="91579" y="7699"/>
                          <a:pt x="39268" y="432730"/>
                        </a:cubicBezTo>
                        <a:cubicBezTo>
                          <a:pt x="8752" y="794551"/>
                          <a:pt x="-8685" y="1001617"/>
                          <a:pt x="4393" y="1077905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" name="Freihandform: Form 175">
                    <a:extLst>
                      <a:ext uri="{FF2B5EF4-FFF2-40B4-BE49-F238E27FC236}">
                        <a16:creationId xmlns:a16="http://schemas.microsoft.com/office/drawing/2014/main" id="{557FAEFA-0C63-4F99-BA0D-98E75A5058DB}"/>
                      </a:ext>
                    </a:extLst>
                  </p:cNvPr>
                  <p:cNvSpPr/>
                  <p:nvPr/>
                </p:nvSpPr>
                <p:spPr>
                  <a:xfrm>
                    <a:off x="11600346" y="686711"/>
                    <a:ext cx="1003874" cy="450498"/>
                  </a:xfrm>
                  <a:custGeom>
                    <a:avLst/>
                    <a:gdLst>
                      <a:gd name="connsiteX0" fmla="*/ 19617 w 1003874"/>
                      <a:gd name="connsiteY0" fmla="*/ 450498 h 450498"/>
                      <a:gd name="connsiteX1" fmla="*/ 773774 w 1003874"/>
                      <a:gd name="connsiteY1" fmla="*/ 293564 h 450498"/>
                      <a:gd name="connsiteX2" fmla="*/ 1002637 w 1003874"/>
                      <a:gd name="connsiteY2" fmla="*/ 62522 h 450498"/>
                      <a:gd name="connsiteX3" fmla="*/ 496959 w 1003874"/>
                      <a:gd name="connsiteY3" fmla="*/ 101755 h 450498"/>
                      <a:gd name="connsiteX4" fmla="*/ 0 w 1003874"/>
                      <a:gd name="connsiteY4" fmla="*/ 391648 h 450498"/>
                      <a:gd name="connsiteX5" fmla="*/ 19617 w 1003874"/>
                      <a:gd name="connsiteY5" fmla="*/ 450498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19617" y="450498"/>
                        </a:moveTo>
                        <a:cubicBezTo>
                          <a:pt x="19617" y="450498"/>
                          <a:pt x="623378" y="376390"/>
                          <a:pt x="773774" y="293564"/>
                        </a:cubicBezTo>
                        <a:cubicBezTo>
                          <a:pt x="924169" y="210737"/>
                          <a:pt x="1015714" y="151887"/>
                          <a:pt x="1002637" y="62522"/>
                        </a:cubicBezTo>
                        <a:cubicBezTo>
                          <a:pt x="983020" y="21108"/>
                          <a:pt x="843523" y="-72616"/>
                          <a:pt x="496959" y="101755"/>
                        </a:cubicBezTo>
                        <a:cubicBezTo>
                          <a:pt x="211426" y="258690"/>
                          <a:pt x="50132" y="350235"/>
                          <a:pt x="0" y="391648"/>
                        </a:cubicBezTo>
                        <a:lnTo>
                          <a:pt x="19617" y="450498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3" name="Freihandform: Form 176">
                    <a:extLst>
                      <a:ext uri="{FF2B5EF4-FFF2-40B4-BE49-F238E27FC236}">
                        <a16:creationId xmlns:a16="http://schemas.microsoft.com/office/drawing/2014/main" id="{21934B1C-A5ED-41DD-B537-A8D527E77AA0}"/>
                      </a:ext>
                    </a:extLst>
                  </p:cNvPr>
                  <p:cNvSpPr/>
                  <p:nvPr/>
                </p:nvSpPr>
                <p:spPr>
                  <a:xfrm>
                    <a:off x="11558883" y="1289985"/>
                    <a:ext cx="920658" cy="548241"/>
                  </a:xfrm>
                  <a:custGeom>
                    <a:avLst/>
                    <a:gdLst>
                      <a:gd name="connsiteX0" fmla="*/ 30515 w 920658"/>
                      <a:gd name="connsiteY0" fmla="*/ 0 h 548241"/>
                      <a:gd name="connsiteX1" fmla="*/ 0 w 920658"/>
                      <a:gd name="connsiteY1" fmla="*/ 52311 h 548241"/>
                      <a:gd name="connsiteX2" fmla="*/ 597223 w 920658"/>
                      <a:gd name="connsiteY2" fmla="*/ 494779 h 548241"/>
                      <a:gd name="connsiteX3" fmla="*/ 915451 w 920658"/>
                      <a:gd name="connsiteY3" fmla="*/ 507857 h 548241"/>
                      <a:gd name="connsiteX4" fmla="*/ 564528 w 920658"/>
                      <a:gd name="connsiteY4" fmla="*/ 167833 h 548241"/>
                      <a:gd name="connsiteX5" fmla="*/ 30515 w 920658"/>
                      <a:gd name="connsiteY5" fmla="*/ 0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30515" y="0"/>
                        </a:moveTo>
                        <a:lnTo>
                          <a:pt x="0" y="52311"/>
                        </a:lnTo>
                        <a:cubicBezTo>
                          <a:pt x="0" y="52311"/>
                          <a:pt x="440288" y="442468"/>
                          <a:pt x="597223" y="494779"/>
                        </a:cubicBezTo>
                        <a:cubicBezTo>
                          <a:pt x="754157" y="549270"/>
                          <a:pt x="856600" y="575426"/>
                          <a:pt x="915451" y="507857"/>
                        </a:cubicBezTo>
                        <a:cubicBezTo>
                          <a:pt x="935068" y="466444"/>
                          <a:pt x="915451" y="302971"/>
                          <a:pt x="564528" y="167833"/>
                        </a:cubicBezTo>
                        <a:cubicBezTo>
                          <a:pt x="265917" y="67569"/>
                          <a:pt x="93725" y="8719"/>
                          <a:pt x="30515" y="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4" name="Freihandform: Form 177">
                    <a:extLst>
                      <a:ext uri="{FF2B5EF4-FFF2-40B4-BE49-F238E27FC236}">
                        <a16:creationId xmlns:a16="http://schemas.microsoft.com/office/drawing/2014/main" id="{2F58EB60-38A3-4FC5-894A-AE9D63A31CD9}"/>
                      </a:ext>
                    </a:extLst>
                  </p:cNvPr>
                  <p:cNvSpPr/>
                  <p:nvPr/>
                </p:nvSpPr>
                <p:spPr>
                  <a:xfrm>
                    <a:off x="11624519" y="1130985"/>
                    <a:ext cx="1017938" cy="292322"/>
                  </a:xfrm>
                  <a:custGeom>
                    <a:avLst/>
                    <a:gdLst>
                      <a:gd name="connsiteX0" fmla="*/ 8719 w 1017938"/>
                      <a:gd name="connsiteY0" fmla="*/ 37150 h 292322"/>
                      <a:gd name="connsiteX1" fmla="*/ 0 w 1017938"/>
                      <a:gd name="connsiteY1" fmla="*/ 96000 h 292322"/>
                      <a:gd name="connsiteX2" fmla="*/ 717103 w 1017938"/>
                      <a:gd name="connsiteY2" fmla="*/ 292168 h 292322"/>
                      <a:gd name="connsiteX3" fmla="*/ 1017894 w 1017938"/>
                      <a:gd name="connsiteY3" fmla="*/ 187545 h 292322"/>
                      <a:gd name="connsiteX4" fmla="*/ 566708 w 1017938"/>
                      <a:gd name="connsiteY4" fmla="*/ 96 h 292322"/>
                      <a:gd name="connsiteX5" fmla="*/ 8719 w 1017938"/>
                      <a:gd name="connsiteY5" fmla="*/ 37150 h 2923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2322">
                        <a:moveTo>
                          <a:pt x="8719" y="37150"/>
                        </a:moveTo>
                        <a:lnTo>
                          <a:pt x="0" y="96000"/>
                        </a:lnTo>
                        <a:cubicBezTo>
                          <a:pt x="0" y="96000"/>
                          <a:pt x="551450" y="298707"/>
                          <a:pt x="717103" y="292168"/>
                        </a:cubicBezTo>
                        <a:cubicBezTo>
                          <a:pt x="882756" y="285629"/>
                          <a:pt x="987379" y="272551"/>
                          <a:pt x="1017894" y="187545"/>
                        </a:cubicBezTo>
                        <a:cubicBezTo>
                          <a:pt x="1020074" y="141772"/>
                          <a:pt x="943786" y="-4264"/>
                          <a:pt x="566708" y="96"/>
                        </a:cubicBezTo>
                        <a:cubicBezTo>
                          <a:pt x="252839" y="13173"/>
                          <a:pt x="71928" y="21892"/>
                          <a:pt x="8719" y="3715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" name="Freihandform: Form 178">
                    <a:extLst>
                      <a:ext uri="{FF2B5EF4-FFF2-40B4-BE49-F238E27FC236}">
                        <a16:creationId xmlns:a16="http://schemas.microsoft.com/office/drawing/2014/main" id="{DE4D3DD3-4793-4592-BF14-09DD99844403}"/>
                      </a:ext>
                    </a:extLst>
                  </p:cNvPr>
                  <p:cNvSpPr/>
                  <p:nvPr/>
                </p:nvSpPr>
                <p:spPr>
                  <a:xfrm>
                    <a:off x="11600661" y="1229231"/>
                    <a:ext cx="309026" cy="1011355"/>
                  </a:xfrm>
                  <a:custGeom>
                    <a:avLst/>
                    <a:gdLst>
                      <a:gd name="connsiteX0" fmla="*/ 265508 w 309026"/>
                      <a:gd name="connsiteY0" fmla="*/ 527474 h 1011355"/>
                      <a:gd name="connsiteX1" fmla="*/ 75879 w 309026"/>
                      <a:gd name="connsiteY1" fmla="*/ 0 h 1011355"/>
                      <a:gd name="connsiteX2" fmla="*/ 17028 w 309026"/>
                      <a:gd name="connsiteY2" fmla="*/ 6539 h 1011355"/>
                      <a:gd name="connsiteX3" fmla="*/ 25747 w 309026"/>
                      <a:gd name="connsiteY3" fmla="*/ 749798 h 1011355"/>
                      <a:gd name="connsiteX4" fmla="*/ 208837 w 309026"/>
                      <a:gd name="connsiteY4" fmla="*/ 1011355 h 1011355"/>
                      <a:gd name="connsiteX5" fmla="*/ 265508 w 309026"/>
                      <a:gd name="connsiteY5" fmla="*/ 527474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265508" y="527474"/>
                        </a:moveTo>
                        <a:cubicBezTo>
                          <a:pt x="165244" y="228863"/>
                          <a:pt x="108574" y="56671"/>
                          <a:pt x="75879" y="0"/>
                        </a:cubicBezTo>
                        <a:lnTo>
                          <a:pt x="17028" y="6539"/>
                        </a:lnTo>
                        <a:cubicBezTo>
                          <a:pt x="17028" y="6539"/>
                          <a:pt x="-26564" y="592863"/>
                          <a:pt x="25747" y="749798"/>
                        </a:cubicBezTo>
                        <a:cubicBezTo>
                          <a:pt x="78059" y="906732"/>
                          <a:pt x="119472" y="1004816"/>
                          <a:pt x="208837" y="1011355"/>
                        </a:cubicBezTo>
                        <a:cubicBezTo>
                          <a:pt x="254610" y="1002637"/>
                          <a:pt x="372311" y="889295"/>
                          <a:pt x="265508" y="5274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" name="Freihandform: Form 179">
                    <a:extLst>
                      <a:ext uri="{FF2B5EF4-FFF2-40B4-BE49-F238E27FC236}">
                        <a16:creationId xmlns:a16="http://schemas.microsoft.com/office/drawing/2014/main" id="{BE44CA04-CCA3-43BC-8DDA-C9EC8A405608}"/>
                      </a:ext>
                    </a:extLst>
                  </p:cNvPr>
                  <p:cNvSpPr/>
                  <p:nvPr/>
                </p:nvSpPr>
                <p:spPr>
                  <a:xfrm>
                    <a:off x="11580683" y="1207046"/>
                    <a:ext cx="670938" cy="823422"/>
                  </a:xfrm>
                  <a:custGeom>
                    <a:avLst/>
                    <a:gdLst>
                      <a:gd name="connsiteX0" fmla="*/ 451186 w 670938"/>
                      <a:gd name="connsiteY0" fmla="*/ 366180 h 823422"/>
                      <a:gd name="connsiteX1" fmla="*/ 41413 w 670938"/>
                      <a:gd name="connsiteY1" fmla="*/ 0 h 823422"/>
                      <a:gd name="connsiteX2" fmla="*/ 0 w 670938"/>
                      <a:gd name="connsiteY2" fmla="*/ 34874 h 823422"/>
                      <a:gd name="connsiteX3" fmla="*/ 379258 w 670938"/>
                      <a:gd name="connsiteY3" fmla="*/ 673510 h 823422"/>
                      <a:gd name="connsiteX4" fmla="*/ 651714 w 670938"/>
                      <a:gd name="connsiteY4" fmla="*/ 813008 h 823422"/>
                      <a:gd name="connsiteX5" fmla="*/ 451186 w 670938"/>
                      <a:gd name="connsiteY5" fmla="*/ 366180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451186" y="366180"/>
                        </a:moveTo>
                        <a:cubicBezTo>
                          <a:pt x="224503" y="154755"/>
                          <a:pt x="93725" y="32695"/>
                          <a:pt x="41413" y="0"/>
                        </a:cubicBezTo>
                        <a:lnTo>
                          <a:pt x="0" y="34874"/>
                        </a:lnTo>
                        <a:cubicBezTo>
                          <a:pt x="0" y="34874"/>
                          <a:pt x="261557" y="562348"/>
                          <a:pt x="379258" y="673510"/>
                        </a:cubicBezTo>
                        <a:cubicBezTo>
                          <a:pt x="499139" y="784672"/>
                          <a:pt x="577606" y="850061"/>
                          <a:pt x="651714" y="813008"/>
                        </a:cubicBezTo>
                        <a:cubicBezTo>
                          <a:pt x="680049" y="782492"/>
                          <a:pt x="714923" y="629917"/>
                          <a:pt x="451186" y="36618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" name="Freihandform: Form 180">
                    <a:extLst>
                      <a:ext uri="{FF2B5EF4-FFF2-40B4-BE49-F238E27FC236}">
                        <a16:creationId xmlns:a16="http://schemas.microsoft.com/office/drawing/2014/main" id="{DB57E6D9-571E-4183-BB12-6B9FE137BFBA}"/>
                      </a:ext>
                    </a:extLst>
                  </p:cNvPr>
                  <p:cNvSpPr/>
                  <p:nvPr/>
                </p:nvSpPr>
                <p:spPr>
                  <a:xfrm>
                    <a:off x="10684134" y="1200498"/>
                    <a:ext cx="822081" cy="808800"/>
                  </a:xfrm>
                  <a:custGeom>
                    <a:avLst/>
                    <a:gdLst>
                      <a:gd name="connsiteX0" fmla="*/ 822081 w 822081"/>
                      <a:gd name="connsiteY0" fmla="*/ 41413 h 808800"/>
                      <a:gd name="connsiteX1" fmla="*/ 780668 w 822081"/>
                      <a:gd name="connsiteY1" fmla="*/ 0 h 808800"/>
                      <a:gd name="connsiteX2" fmla="*/ 135493 w 822081"/>
                      <a:gd name="connsiteY2" fmla="*/ 481701 h 808800"/>
                      <a:gd name="connsiteX3" fmla="*/ 17792 w 822081"/>
                      <a:gd name="connsiteY3" fmla="*/ 793391 h 808800"/>
                      <a:gd name="connsiteX4" fmla="*/ 477697 w 822081"/>
                      <a:gd name="connsiteY4" fmla="*/ 529654 h 808800"/>
                      <a:gd name="connsiteX5" fmla="*/ 822081 w 822081"/>
                      <a:gd name="connsiteY5" fmla="*/ 41413 h 808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08800">
                        <a:moveTo>
                          <a:pt x="822081" y="41413"/>
                        </a:moveTo>
                        <a:lnTo>
                          <a:pt x="780668" y="0"/>
                        </a:lnTo>
                        <a:cubicBezTo>
                          <a:pt x="780668" y="0"/>
                          <a:pt x="242296" y="340025"/>
                          <a:pt x="135493" y="481701"/>
                        </a:cubicBezTo>
                        <a:cubicBezTo>
                          <a:pt x="28691" y="623378"/>
                          <a:pt x="-32339" y="719283"/>
                          <a:pt x="17792" y="793391"/>
                        </a:cubicBezTo>
                        <a:cubicBezTo>
                          <a:pt x="54846" y="821726"/>
                          <a:pt x="224859" y="845702"/>
                          <a:pt x="477697" y="529654"/>
                        </a:cubicBezTo>
                        <a:cubicBezTo>
                          <a:pt x="676045" y="259378"/>
                          <a:pt x="791566" y="104623"/>
                          <a:pt x="822081" y="4141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" name="Freihandform: Form 181">
                    <a:extLst>
                      <a:ext uri="{FF2B5EF4-FFF2-40B4-BE49-F238E27FC236}">
                        <a16:creationId xmlns:a16="http://schemas.microsoft.com/office/drawing/2014/main" id="{62571F96-E4BC-41D1-A06A-93B1CC9B2320}"/>
                      </a:ext>
                    </a:extLst>
                  </p:cNvPr>
                  <p:cNvSpPr/>
                  <p:nvPr/>
                </p:nvSpPr>
                <p:spPr>
                  <a:xfrm>
                    <a:off x="11103490" y="1187844"/>
                    <a:ext cx="446476" cy="1112779"/>
                  </a:xfrm>
                  <a:custGeom>
                    <a:avLst/>
                    <a:gdLst>
                      <a:gd name="connsiteX0" fmla="*/ 443197 w 446476"/>
                      <a:gd name="connsiteY0" fmla="*/ 34874 h 1112779"/>
                      <a:gd name="connsiteX1" fmla="*/ 369089 w 446476"/>
                      <a:gd name="connsiteY1" fmla="*/ 0 h 1112779"/>
                      <a:gd name="connsiteX2" fmla="*/ 7268 w 446476"/>
                      <a:gd name="connsiteY2" fmla="*/ 723642 h 1112779"/>
                      <a:gd name="connsiteX3" fmla="*/ 96633 w 446476"/>
                      <a:gd name="connsiteY3" fmla="*/ 1107260 h 1112779"/>
                      <a:gd name="connsiteX4" fmla="*/ 408322 w 446476"/>
                      <a:gd name="connsiteY4" fmla="*/ 680049 h 1112779"/>
                      <a:gd name="connsiteX5" fmla="*/ 443197 w 446476"/>
                      <a:gd name="connsiteY5" fmla="*/ 34874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6476" h="1112779">
                        <a:moveTo>
                          <a:pt x="443197" y="34874"/>
                        </a:moveTo>
                        <a:lnTo>
                          <a:pt x="369089" y="0"/>
                        </a:lnTo>
                        <a:cubicBezTo>
                          <a:pt x="369089" y="0"/>
                          <a:pt x="22525" y="536193"/>
                          <a:pt x="7268" y="723642"/>
                        </a:cubicBezTo>
                        <a:cubicBezTo>
                          <a:pt x="-7990" y="913271"/>
                          <a:pt x="-7990" y="1035331"/>
                          <a:pt x="96633" y="1107260"/>
                        </a:cubicBezTo>
                        <a:cubicBezTo>
                          <a:pt x="155483" y="1129056"/>
                          <a:pt x="356011" y="1105080"/>
                          <a:pt x="408322" y="680049"/>
                        </a:cubicBezTo>
                        <a:cubicBezTo>
                          <a:pt x="436658" y="318228"/>
                          <a:pt x="454095" y="111162"/>
                          <a:pt x="443197" y="348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9" name="Freihandform: Form 182">
                    <a:extLst>
                      <a:ext uri="{FF2B5EF4-FFF2-40B4-BE49-F238E27FC236}">
                        <a16:creationId xmlns:a16="http://schemas.microsoft.com/office/drawing/2014/main" id="{6C36039F-A527-4390-A38A-89888EDEE14E}"/>
                      </a:ext>
                    </a:extLst>
                  </p:cNvPr>
                  <p:cNvSpPr/>
                  <p:nvPr/>
                </p:nvSpPr>
                <p:spPr>
                  <a:xfrm>
                    <a:off x="10396141" y="1131081"/>
                    <a:ext cx="1003874" cy="450498"/>
                  </a:xfrm>
                  <a:custGeom>
                    <a:avLst/>
                    <a:gdLst>
                      <a:gd name="connsiteX0" fmla="*/ 984257 w 1003874"/>
                      <a:gd name="connsiteY0" fmla="*/ 0 h 450498"/>
                      <a:gd name="connsiteX1" fmla="*/ 230100 w 1003874"/>
                      <a:gd name="connsiteY1" fmla="*/ 156934 h 450498"/>
                      <a:gd name="connsiteX2" fmla="*/ 1237 w 1003874"/>
                      <a:gd name="connsiteY2" fmla="*/ 387977 h 450498"/>
                      <a:gd name="connsiteX3" fmla="*/ 506915 w 1003874"/>
                      <a:gd name="connsiteY3" fmla="*/ 348743 h 450498"/>
                      <a:gd name="connsiteX4" fmla="*/ 1003874 w 1003874"/>
                      <a:gd name="connsiteY4" fmla="*/ 58850 h 450498"/>
                      <a:gd name="connsiteX5" fmla="*/ 984257 w 1003874"/>
                      <a:gd name="connsiteY5" fmla="*/ 0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984257" y="0"/>
                        </a:moveTo>
                        <a:cubicBezTo>
                          <a:pt x="984257" y="0"/>
                          <a:pt x="380496" y="74108"/>
                          <a:pt x="230100" y="156934"/>
                        </a:cubicBezTo>
                        <a:cubicBezTo>
                          <a:pt x="79705" y="239761"/>
                          <a:pt x="-11840" y="298611"/>
                          <a:pt x="1237" y="387977"/>
                        </a:cubicBezTo>
                        <a:cubicBezTo>
                          <a:pt x="20854" y="429390"/>
                          <a:pt x="160352" y="523115"/>
                          <a:pt x="506915" y="348743"/>
                        </a:cubicBezTo>
                        <a:cubicBezTo>
                          <a:pt x="792449" y="191809"/>
                          <a:pt x="953742" y="100264"/>
                          <a:pt x="1003874" y="58850"/>
                        </a:cubicBezTo>
                        <a:lnTo>
                          <a:pt x="984257" y="0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0" name="Freihandform: Form 183">
                    <a:extLst>
                      <a:ext uri="{FF2B5EF4-FFF2-40B4-BE49-F238E27FC236}">
                        <a16:creationId xmlns:a16="http://schemas.microsoft.com/office/drawing/2014/main" id="{5600DCFD-5CBD-4BC6-AE8F-2EA19A2BAB81}"/>
                      </a:ext>
                    </a:extLst>
                  </p:cNvPr>
                  <p:cNvSpPr/>
                  <p:nvPr/>
                </p:nvSpPr>
                <p:spPr>
                  <a:xfrm>
                    <a:off x="10585147" y="494585"/>
                    <a:ext cx="920658" cy="548241"/>
                  </a:xfrm>
                  <a:custGeom>
                    <a:avLst/>
                    <a:gdLst>
                      <a:gd name="connsiteX0" fmla="*/ 890144 w 920658"/>
                      <a:gd name="connsiteY0" fmla="*/ 548241 h 548241"/>
                      <a:gd name="connsiteX1" fmla="*/ 920659 w 920658"/>
                      <a:gd name="connsiteY1" fmla="*/ 495930 h 548241"/>
                      <a:gd name="connsiteX2" fmla="*/ 323436 w 920658"/>
                      <a:gd name="connsiteY2" fmla="*/ 53462 h 548241"/>
                      <a:gd name="connsiteX3" fmla="*/ 5208 w 920658"/>
                      <a:gd name="connsiteY3" fmla="*/ 40384 h 548241"/>
                      <a:gd name="connsiteX4" fmla="*/ 356131 w 920658"/>
                      <a:gd name="connsiteY4" fmla="*/ 380409 h 548241"/>
                      <a:gd name="connsiteX5" fmla="*/ 890144 w 920658"/>
                      <a:gd name="connsiteY5" fmla="*/ 548241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890144" y="548241"/>
                        </a:moveTo>
                        <a:lnTo>
                          <a:pt x="920659" y="495930"/>
                        </a:lnTo>
                        <a:cubicBezTo>
                          <a:pt x="920659" y="495930"/>
                          <a:pt x="480371" y="105773"/>
                          <a:pt x="323436" y="53462"/>
                        </a:cubicBezTo>
                        <a:cubicBezTo>
                          <a:pt x="166502" y="-1029"/>
                          <a:pt x="64059" y="-27185"/>
                          <a:pt x="5208" y="40384"/>
                        </a:cubicBezTo>
                        <a:cubicBezTo>
                          <a:pt x="-14409" y="81797"/>
                          <a:pt x="5208" y="245271"/>
                          <a:pt x="356131" y="380409"/>
                        </a:cubicBezTo>
                        <a:cubicBezTo>
                          <a:pt x="654742" y="482852"/>
                          <a:pt x="826934" y="541702"/>
                          <a:pt x="890144" y="54824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1" name="Freihandform: Form 184">
                    <a:extLst>
                      <a:ext uri="{FF2B5EF4-FFF2-40B4-BE49-F238E27FC236}">
                        <a16:creationId xmlns:a16="http://schemas.microsoft.com/office/drawing/2014/main" id="{844DE934-D438-4F0E-AFDE-1D39B8080785}"/>
                      </a:ext>
                    </a:extLst>
                  </p:cNvPr>
                  <p:cNvSpPr/>
                  <p:nvPr/>
                </p:nvSpPr>
                <p:spPr>
                  <a:xfrm>
                    <a:off x="10408443" y="881147"/>
                    <a:ext cx="1017938" cy="294502"/>
                  </a:xfrm>
                  <a:custGeom>
                    <a:avLst/>
                    <a:gdLst>
                      <a:gd name="connsiteX0" fmla="*/ 1009220 w 1017938"/>
                      <a:gd name="connsiteY0" fmla="*/ 255173 h 294502"/>
                      <a:gd name="connsiteX1" fmla="*/ 1017939 w 1017938"/>
                      <a:gd name="connsiteY1" fmla="*/ 196323 h 294502"/>
                      <a:gd name="connsiteX2" fmla="*/ 300836 w 1017938"/>
                      <a:gd name="connsiteY2" fmla="*/ 155 h 294502"/>
                      <a:gd name="connsiteX3" fmla="*/ 45 w 1017938"/>
                      <a:gd name="connsiteY3" fmla="*/ 106957 h 294502"/>
                      <a:gd name="connsiteX4" fmla="*/ 451231 w 1017938"/>
                      <a:gd name="connsiteY4" fmla="*/ 294407 h 294502"/>
                      <a:gd name="connsiteX5" fmla="*/ 1009220 w 1017938"/>
                      <a:gd name="connsiteY5" fmla="*/ 255173 h 2945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4502">
                        <a:moveTo>
                          <a:pt x="1009220" y="255173"/>
                        </a:moveTo>
                        <a:lnTo>
                          <a:pt x="1017939" y="196323"/>
                        </a:lnTo>
                        <a:cubicBezTo>
                          <a:pt x="1017939" y="196323"/>
                          <a:pt x="466489" y="-6384"/>
                          <a:pt x="300836" y="155"/>
                        </a:cubicBezTo>
                        <a:cubicBezTo>
                          <a:pt x="135183" y="8873"/>
                          <a:pt x="30560" y="19772"/>
                          <a:pt x="45" y="106957"/>
                        </a:cubicBezTo>
                        <a:cubicBezTo>
                          <a:pt x="-2135" y="152730"/>
                          <a:pt x="74153" y="298766"/>
                          <a:pt x="451231" y="294407"/>
                        </a:cubicBezTo>
                        <a:cubicBezTo>
                          <a:pt x="767280" y="279149"/>
                          <a:pt x="948190" y="272610"/>
                          <a:pt x="1009220" y="25517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2" name="Freihandform: Form 185">
                    <a:extLst>
                      <a:ext uri="{FF2B5EF4-FFF2-40B4-BE49-F238E27FC236}">
                        <a16:creationId xmlns:a16="http://schemas.microsoft.com/office/drawing/2014/main" id="{2DED94BC-8EDF-4385-ABFC-D226445C9C2B}"/>
                      </a:ext>
                    </a:extLst>
                  </p:cNvPr>
                  <p:cNvSpPr/>
                  <p:nvPr/>
                </p:nvSpPr>
                <p:spPr>
                  <a:xfrm>
                    <a:off x="11308288" y="22604"/>
                    <a:ext cx="309026" cy="1011355"/>
                  </a:xfrm>
                  <a:custGeom>
                    <a:avLst/>
                    <a:gdLst>
                      <a:gd name="connsiteX0" fmla="*/ 43518 w 309026"/>
                      <a:gd name="connsiteY0" fmla="*/ 483881 h 1011355"/>
                      <a:gd name="connsiteX1" fmla="*/ 233147 w 309026"/>
                      <a:gd name="connsiteY1" fmla="*/ 1011355 h 1011355"/>
                      <a:gd name="connsiteX2" fmla="*/ 291998 w 309026"/>
                      <a:gd name="connsiteY2" fmla="*/ 1004816 h 1011355"/>
                      <a:gd name="connsiteX3" fmla="*/ 283279 w 309026"/>
                      <a:gd name="connsiteY3" fmla="*/ 261557 h 1011355"/>
                      <a:gd name="connsiteX4" fmla="*/ 100189 w 309026"/>
                      <a:gd name="connsiteY4" fmla="*/ 0 h 1011355"/>
                      <a:gd name="connsiteX5" fmla="*/ 43518 w 309026"/>
                      <a:gd name="connsiteY5" fmla="*/ 483881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43518" y="483881"/>
                        </a:moveTo>
                        <a:cubicBezTo>
                          <a:pt x="143782" y="782493"/>
                          <a:pt x="200453" y="954684"/>
                          <a:pt x="233147" y="1011355"/>
                        </a:cubicBezTo>
                        <a:lnTo>
                          <a:pt x="291998" y="1004816"/>
                        </a:lnTo>
                        <a:cubicBezTo>
                          <a:pt x="291998" y="1004816"/>
                          <a:pt x="335591" y="418492"/>
                          <a:pt x="283279" y="261557"/>
                        </a:cubicBezTo>
                        <a:cubicBezTo>
                          <a:pt x="230968" y="104623"/>
                          <a:pt x="189554" y="6539"/>
                          <a:pt x="100189" y="0"/>
                        </a:cubicBezTo>
                        <a:cubicBezTo>
                          <a:pt x="54417" y="8719"/>
                          <a:pt x="-63284" y="122060"/>
                          <a:pt x="43518" y="48388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3" name="Freihandform: Form 186">
                    <a:extLst>
                      <a:ext uri="{FF2B5EF4-FFF2-40B4-BE49-F238E27FC236}">
                        <a16:creationId xmlns:a16="http://schemas.microsoft.com/office/drawing/2014/main" id="{64F3488A-BE3F-4D1E-8402-8269CC7BB134}"/>
                      </a:ext>
                    </a:extLst>
                  </p:cNvPr>
                  <p:cNvSpPr/>
                  <p:nvPr/>
                </p:nvSpPr>
                <p:spPr>
                  <a:xfrm>
                    <a:off x="10900924" y="231760"/>
                    <a:ext cx="670938" cy="823422"/>
                  </a:xfrm>
                  <a:custGeom>
                    <a:avLst/>
                    <a:gdLst>
                      <a:gd name="connsiteX0" fmla="*/ 219752 w 670938"/>
                      <a:gd name="connsiteY0" fmla="*/ 457242 h 823422"/>
                      <a:gd name="connsiteX1" fmla="*/ 629525 w 670938"/>
                      <a:gd name="connsiteY1" fmla="*/ 823423 h 823422"/>
                      <a:gd name="connsiteX2" fmla="*/ 670939 w 670938"/>
                      <a:gd name="connsiteY2" fmla="*/ 788548 h 823422"/>
                      <a:gd name="connsiteX3" fmla="*/ 291680 w 670938"/>
                      <a:gd name="connsiteY3" fmla="*/ 149912 h 823422"/>
                      <a:gd name="connsiteX4" fmla="*/ 19225 w 670938"/>
                      <a:gd name="connsiteY4" fmla="*/ 10415 h 823422"/>
                      <a:gd name="connsiteX5" fmla="*/ 219752 w 670938"/>
                      <a:gd name="connsiteY5" fmla="*/ 457242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219752" y="457242"/>
                        </a:moveTo>
                        <a:cubicBezTo>
                          <a:pt x="446435" y="668668"/>
                          <a:pt x="577214" y="790728"/>
                          <a:pt x="629525" y="823423"/>
                        </a:cubicBezTo>
                        <a:lnTo>
                          <a:pt x="670939" y="788548"/>
                        </a:lnTo>
                        <a:cubicBezTo>
                          <a:pt x="670939" y="788548"/>
                          <a:pt x="409381" y="261074"/>
                          <a:pt x="291680" y="149912"/>
                        </a:cubicBezTo>
                        <a:cubicBezTo>
                          <a:pt x="171800" y="38750"/>
                          <a:pt x="93333" y="-26639"/>
                          <a:pt x="19225" y="10415"/>
                        </a:cubicBezTo>
                        <a:cubicBezTo>
                          <a:pt x="-9111" y="40930"/>
                          <a:pt x="-43985" y="195685"/>
                          <a:pt x="219752" y="457242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104" name="Grafik 5">
                    <a:extLst>
                      <a:ext uri="{FF2B5EF4-FFF2-40B4-BE49-F238E27FC236}">
                        <a16:creationId xmlns:a16="http://schemas.microsoft.com/office/drawing/2014/main" id="{42D79C2B-89EB-4AC1-ADA8-56409D8A8A70}"/>
                      </a:ext>
                    </a:extLst>
                  </p:cNvPr>
                  <p:cNvGrpSpPr/>
                  <p:nvPr/>
                </p:nvGrpSpPr>
                <p:grpSpPr>
                  <a:xfrm>
                    <a:off x="10468669" y="91979"/>
                    <a:ext cx="2134946" cy="2159439"/>
                    <a:chOff x="10468669" y="91979"/>
                    <a:chExt cx="2134946" cy="2159439"/>
                  </a:xfrm>
                  <a:solidFill>
                    <a:srgbClr val="FFFFFF"/>
                  </a:solidFill>
                </p:grpSpPr>
                <p:sp>
                  <p:nvSpPr>
                    <p:cNvPr id="105" name="Freihandform: Form 188">
                      <a:extLst>
                        <a:ext uri="{FF2B5EF4-FFF2-40B4-BE49-F238E27FC236}">
                          <a16:creationId xmlns:a16="http://schemas.microsoft.com/office/drawing/2014/main" id="{08756933-ED05-4D77-A661-3E8B07A5B12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8669" y="728333"/>
                      <a:ext cx="1020510" cy="415311"/>
                    </a:xfrm>
                    <a:custGeom>
                      <a:avLst/>
                      <a:gdLst>
                        <a:gd name="connsiteX0" fmla="*/ 1005253 w 1020510"/>
                        <a:gd name="connsiteY0" fmla="*/ 370222 h 370774"/>
                        <a:gd name="connsiteX1" fmla="*/ 1020511 w 1020510"/>
                        <a:gd name="connsiteY1" fmla="*/ 315731 h 370774"/>
                        <a:gd name="connsiteX2" fmla="*/ 314306 w 1020510"/>
                        <a:gd name="connsiteY2" fmla="*/ 12760 h 370774"/>
                        <a:gd name="connsiteX3" fmla="*/ 437 w 1020510"/>
                        <a:gd name="connsiteY3" fmla="*/ 65072 h 370774"/>
                        <a:gd name="connsiteX4" fmla="*/ 438546 w 1020510"/>
                        <a:gd name="connsiteY4" fmla="*/ 317911 h 370774"/>
                        <a:gd name="connsiteX5" fmla="*/ 1005253 w 1020510"/>
                        <a:gd name="connsiteY5" fmla="*/ 370222 h 3707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0774">
                          <a:moveTo>
                            <a:pt x="1005253" y="370222"/>
                          </a:moveTo>
                          <a:lnTo>
                            <a:pt x="1020511" y="315731"/>
                          </a:lnTo>
                          <a:cubicBezTo>
                            <a:pt x="1020511" y="315731"/>
                            <a:pt x="482138" y="32377"/>
                            <a:pt x="314306" y="12760"/>
                          </a:cubicBezTo>
                          <a:cubicBezTo>
                            <a:pt x="146473" y="-6856"/>
                            <a:pt x="39671" y="-13395"/>
                            <a:pt x="437" y="65072"/>
                          </a:cubicBezTo>
                          <a:cubicBezTo>
                            <a:pt x="-6102" y="108665"/>
                            <a:pt x="57108" y="261240"/>
                            <a:pt x="438546" y="317911"/>
                          </a:cubicBezTo>
                          <a:cubicBezTo>
                            <a:pt x="756774" y="352785"/>
                            <a:pt x="939864" y="374581"/>
                            <a:pt x="1005253" y="37022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6" name="Freihandform: Form 189">
                      <a:extLst>
                        <a:ext uri="{FF2B5EF4-FFF2-40B4-BE49-F238E27FC236}">
                          <a16:creationId xmlns:a16="http://schemas.microsoft.com/office/drawing/2014/main" id="{529517DB-6D97-4D7C-842F-6817FF8516D0}"/>
                        </a:ext>
                      </a:extLst>
                    </p:cNvPr>
                    <p:cNvSpPr/>
                    <p:nvPr/>
                  </p:nvSpPr>
                  <p:spPr>
                    <a:xfrm rot="184551">
                      <a:off x="10473608" y="1098449"/>
                      <a:ext cx="1052768" cy="433246"/>
                    </a:xfrm>
                    <a:custGeom>
                      <a:avLst/>
                      <a:gdLst>
                        <a:gd name="connsiteX0" fmla="*/ 1052768 w 1052768"/>
                        <a:gd name="connsiteY0" fmla="*/ 84495 h 433246"/>
                        <a:gd name="connsiteX1" fmla="*/ 1046230 w 1052768"/>
                        <a:gd name="connsiteY1" fmla="*/ 6028 h 433246"/>
                        <a:gd name="connsiteX2" fmla="*/ 274635 w 1052768"/>
                        <a:gd name="connsiteY2" fmla="*/ 51800 h 433246"/>
                        <a:gd name="connsiteX3" fmla="*/ 0 w 1052768"/>
                        <a:gd name="connsiteY3" fmla="*/ 308998 h 433246"/>
                        <a:gd name="connsiteX4" fmla="*/ 503498 w 1052768"/>
                        <a:gd name="connsiteY4" fmla="*/ 363489 h 433246"/>
                        <a:gd name="connsiteX5" fmla="*/ 1052768 w 1052768"/>
                        <a:gd name="connsiteY5" fmla="*/ 84495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2768" h="433246">
                          <a:moveTo>
                            <a:pt x="1052768" y="84495"/>
                          </a:moveTo>
                          <a:lnTo>
                            <a:pt x="1046230" y="6028"/>
                          </a:lnTo>
                          <a:cubicBezTo>
                            <a:pt x="1046230" y="6028"/>
                            <a:pt x="438109" y="-24487"/>
                            <a:pt x="274635" y="51800"/>
                          </a:cubicBezTo>
                          <a:cubicBezTo>
                            <a:pt x="111162" y="130267"/>
                            <a:pt x="8719" y="186938"/>
                            <a:pt x="0" y="308998"/>
                          </a:cubicBezTo>
                          <a:cubicBezTo>
                            <a:pt x="10898" y="367849"/>
                            <a:pt x="126419" y="522603"/>
                            <a:pt x="503498" y="363489"/>
                          </a:cubicBezTo>
                          <a:cubicBezTo>
                            <a:pt x="815187" y="215274"/>
                            <a:pt x="993918" y="130267"/>
                            <a:pt x="1052768" y="84495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7" name="Freihandform: Form 190">
                      <a:extLst>
                        <a:ext uri="{FF2B5EF4-FFF2-40B4-BE49-F238E27FC236}">
                          <a16:creationId xmlns:a16="http://schemas.microsoft.com/office/drawing/2014/main" id="{58853C34-E1E3-4216-BEDB-2DB5C90A55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9290" y="383058"/>
                      <a:ext cx="800989" cy="693531"/>
                    </a:xfrm>
                    <a:custGeom>
                      <a:avLst/>
                      <a:gdLst>
                        <a:gd name="connsiteX0" fmla="*/ 800989 w 800989"/>
                        <a:gd name="connsiteY0" fmla="*/ 649939 h 693531"/>
                        <a:gd name="connsiteX1" fmla="*/ 312749 w 800989"/>
                        <a:gd name="connsiteY1" fmla="*/ 100668 h 693531"/>
                        <a:gd name="connsiteX2" fmla="*/ 11958 w 800989"/>
                        <a:gd name="connsiteY2" fmla="*/ 22201 h 693531"/>
                        <a:gd name="connsiteX3" fmla="*/ 286593 w 800989"/>
                        <a:gd name="connsiteY3" fmla="*/ 421076 h 693531"/>
                        <a:gd name="connsiteX4" fmla="*/ 763935 w 800989"/>
                        <a:gd name="connsiteY4" fmla="*/ 693532 h 693531"/>
                        <a:gd name="connsiteX5" fmla="*/ 800989 w 800989"/>
                        <a:gd name="connsiteY5" fmla="*/ 649939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800989" y="649939"/>
                          </a:moveTo>
                          <a:cubicBezTo>
                            <a:pt x="800989" y="649939"/>
                            <a:pt x="452246" y="185674"/>
                            <a:pt x="312749" y="100668"/>
                          </a:cubicBezTo>
                          <a:cubicBezTo>
                            <a:pt x="173252" y="15662"/>
                            <a:pt x="81706" y="-30111"/>
                            <a:pt x="11958" y="22201"/>
                          </a:cubicBezTo>
                          <a:cubicBezTo>
                            <a:pt x="-14198" y="59255"/>
                            <a:pt x="-25096" y="218369"/>
                            <a:pt x="286593" y="421076"/>
                          </a:cubicBezTo>
                          <a:cubicBezTo>
                            <a:pt x="552510" y="580190"/>
                            <a:pt x="705085" y="673915"/>
                            <a:pt x="763935" y="693532"/>
                          </a:cubicBezTo>
                          <a:lnTo>
                            <a:pt x="800989" y="64993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8" name="Freihandform: Form 191">
                      <a:extLst>
                        <a:ext uri="{FF2B5EF4-FFF2-40B4-BE49-F238E27FC236}">
                          <a16:creationId xmlns:a16="http://schemas.microsoft.com/office/drawing/2014/main" id="{51C90DF5-0D64-4C06-A45A-06407B68F05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0345" y="91979"/>
                      <a:ext cx="304507" cy="974301"/>
                    </a:xfrm>
                    <a:custGeom>
                      <a:avLst/>
                      <a:gdLst>
                        <a:gd name="connsiteX0" fmla="*/ 132060 w 274679"/>
                        <a:gd name="connsiteY0" fmla="*/ 974301 h 974301"/>
                        <a:gd name="connsiteX1" fmla="*/ 188730 w 274679"/>
                        <a:gd name="connsiteY1" fmla="*/ 974301 h 974301"/>
                        <a:gd name="connsiteX2" fmla="*/ 269377 w 274679"/>
                        <a:gd name="connsiteY2" fmla="*/ 270276 h 974301"/>
                        <a:gd name="connsiteX3" fmla="*/ 127700 w 274679"/>
                        <a:gd name="connsiteY3" fmla="*/ 0 h 974301"/>
                        <a:gd name="connsiteX4" fmla="*/ 14359 w 274679"/>
                        <a:gd name="connsiteY4" fmla="*/ 451186 h 974301"/>
                        <a:gd name="connsiteX5" fmla="*/ 132060 w 274679"/>
                        <a:gd name="connsiteY5" fmla="*/ 974301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32060" y="974301"/>
                          </a:moveTo>
                          <a:lnTo>
                            <a:pt x="188730" y="974301"/>
                          </a:lnTo>
                          <a:cubicBezTo>
                            <a:pt x="188730" y="974301"/>
                            <a:pt x="299892" y="425031"/>
                            <a:pt x="269377" y="270276"/>
                          </a:cubicBezTo>
                          <a:cubicBezTo>
                            <a:pt x="238862" y="115521"/>
                            <a:pt x="212707" y="17437"/>
                            <a:pt x="127700" y="0"/>
                          </a:cubicBezTo>
                          <a:cubicBezTo>
                            <a:pt x="84107" y="4359"/>
                            <a:pt x="-42312" y="95904"/>
                            <a:pt x="14359" y="451186"/>
                          </a:cubicBezTo>
                          <a:cubicBezTo>
                            <a:pt x="75389" y="749798"/>
                            <a:pt x="108084" y="917631"/>
                            <a:pt x="132060" y="974301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09" name="Freihandform: Form 192">
                      <a:extLst>
                        <a:ext uri="{FF2B5EF4-FFF2-40B4-BE49-F238E27FC236}">
                          <a16:creationId xmlns:a16="http://schemas.microsoft.com/office/drawing/2014/main" id="{5E96680D-69BC-4EEA-A7E2-4B58F29BA5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71041" y="186511"/>
                      <a:ext cx="462825" cy="908535"/>
                    </a:xfrm>
                    <a:custGeom>
                      <a:avLst/>
                      <a:gdLst>
                        <a:gd name="connsiteX0" fmla="*/ 410514 w 462825"/>
                        <a:gd name="connsiteY0" fmla="*/ 908536 h 908535"/>
                        <a:gd name="connsiteX1" fmla="*/ 462826 w 462825"/>
                        <a:gd name="connsiteY1" fmla="*/ 888919 h 908535"/>
                        <a:gd name="connsiteX2" fmla="*/ 281915 w 462825"/>
                        <a:gd name="connsiteY2" fmla="*/ 202331 h 908535"/>
                        <a:gd name="connsiteX3" fmla="*/ 53052 w 462825"/>
                        <a:gd name="connsiteY3" fmla="*/ 1803 h 908535"/>
                        <a:gd name="connsiteX4" fmla="*/ 114082 w 462825"/>
                        <a:gd name="connsiteY4" fmla="*/ 463888 h 908535"/>
                        <a:gd name="connsiteX5" fmla="*/ 410514 w 462825"/>
                        <a:gd name="connsiteY5" fmla="*/ 908536 h 9085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8535">
                          <a:moveTo>
                            <a:pt x="410514" y="908536"/>
                          </a:moveTo>
                          <a:lnTo>
                            <a:pt x="462826" y="888919"/>
                          </a:lnTo>
                          <a:cubicBezTo>
                            <a:pt x="462826" y="888919"/>
                            <a:pt x="366921" y="335289"/>
                            <a:pt x="281915" y="202331"/>
                          </a:cubicBezTo>
                          <a:cubicBezTo>
                            <a:pt x="196909" y="69372"/>
                            <a:pt x="138059" y="-13454"/>
                            <a:pt x="53052" y="1803"/>
                          </a:cubicBezTo>
                          <a:cubicBezTo>
                            <a:pt x="13819" y="21420"/>
                            <a:pt x="-69008" y="154378"/>
                            <a:pt x="114082" y="463888"/>
                          </a:cubicBezTo>
                          <a:cubicBezTo>
                            <a:pt x="275376" y="718906"/>
                            <a:pt x="366921" y="864943"/>
                            <a:pt x="410514" y="90853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0" name="Freihandform: Form 193">
                      <a:extLst>
                        <a:ext uri="{FF2B5EF4-FFF2-40B4-BE49-F238E27FC236}">
                          <a16:creationId xmlns:a16="http://schemas.microsoft.com/office/drawing/2014/main" id="{333C9023-6C78-4727-9793-E72F8DAF01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2098" y="467391"/>
                      <a:ext cx="784672" cy="662868"/>
                    </a:xfrm>
                    <a:custGeom>
                      <a:avLst/>
                      <a:gdLst>
                        <a:gd name="connsiteX0" fmla="*/ 344384 w 784672"/>
                        <a:gd name="connsiteY0" fmla="*/ 209502 h 662868"/>
                        <a:gd name="connsiteX1" fmla="*/ 0 w 784672"/>
                        <a:gd name="connsiteY1" fmla="*/ 617096 h 662868"/>
                        <a:gd name="connsiteX2" fmla="*/ 34874 w 784672"/>
                        <a:gd name="connsiteY2" fmla="*/ 662868 h 662868"/>
                        <a:gd name="connsiteX3" fmla="*/ 645175 w 784672"/>
                        <a:gd name="connsiteY3" fmla="*/ 301047 h 662868"/>
                        <a:gd name="connsiteX4" fmla="*/ 773774 w 784672"/>
                        <a:gd name="connsiteY4" fmla="*/ 26412 h 662868"/>
                        <a:gd name="connsiteX5" fmla="*/ 344384 w 784672"/>
                        <a:gd name="connsiteY5" fmla="*/ 209502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344384" y="209502"/>
                          </a:moveTo>
                          <a:cubicBezTo>
                            <a:pt x="146036" y="436185"/>
                            <a:pt x="30515" y="564784"/>
                            <a:pt x="0" y="617096"/>
                          </a:cubicBezTo>
                          <a:lnTo>
                            <a:pt x="34874" y="662868"/>
                          </a:lnTo>
                          <a:cubicBezTo>
                            <a:pt x="34874" y="662868"/>
                            <a:pt x="540552" y="418748"/>
                            <a:pt x="645175" y="301047"/>
                          </a:cubicBezTo>
                          <a:cubicBezTo>
                            <a:pt x="749798" y="183346"/>
                            <a:pt x="810828" y="102699"/>
                            <a:pt x="773774" y="26412"/>
                          </a:cubicBezTo>
                          <a:cubicBezTo>
                            <a:pt x="741079" y="-8463"/>
                            <a:pt x="590684" y="-52055"/>
                            <a:pt x="344384" y="20950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1" name="Freihandform: Form 194">
                      <a:extLst>
                        <a:ext uri="{FF2B5EF4-FFF2-40B4-BE49-F238E27FC236}">
                          <a16:creationId xmlns:a16="http://schemas.microsoft.com/office/drawing/2014/main" id="{BB7CCD03-3A5F-42F7-B26F-3B4324EDB21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1862" y="211652"/>
                      <a:ext cx="424485" cy="912068"/>
                    </a:xfrm>
                    <a:custGeom>
                      <a:avLst/>
                      <a:gdLst>
                        <a:gd name="connsiteX0" fmla="*/ 106803 w 424485"/>
                        <a:gd name="connsiteY0" fmla="*/ 380235 h 912068"/>
                        <a:gd name="connsiteX1" fmla="*/ 0 w 424485"/>
                        <a:gd name="connsiteY1" fmla="*/ 894631 h 912068"/>
                        <a:gd name="connsiteX2" fmla="*/ 47952 w 424485"/>
                        <a:gd name="connsiteY2" fmla="*/ 912069 h 912068"/>
                        <a:gd name="connsiteX3" fmla="*/ 394516 w 424485"/>
                        <a:gd name="connsiteY3" fmla="*/ 293049 h 912068"/>
                        <a:gd name="connsiteX4" fmla="*/ 379258 w 424485"/>
                        <a:gd name="connsiteY4" fmla="*/ 977 h 912068"/>
                        <a:gd name="connsiteX5" fmla="*/ 106803 w 424485"/>
                        <a:gd name="connsiteY5" fmla="*/ 380235 h 9120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68">
                          <a:moveTo>
                            <a:pt x="106803" y="380235"/>
                          </a:moveTo>
                          <a:cubicBezTo>
                            <a:pt x="41413" y="670128"/>
                            <a:pt x="2180" y="835781"/>
                            <a:pt x="0" y="894631"/>
                          </a:cubicBezTo>
                          <a:lnTo>
                            <a:pt x="47952" y="912069"/>
                          </a:lnTo>
                          <a:cubicBezTo>
                            <a:pt x="47952" y="912069"/>
                            <a:pt x="359641" y="445625"/>
                            <a:pt x="394516" y="293049"/>
                          </a:cubicBezTo>
                          <a:cubicBezTo>
                            <a:pt x="429390" y="142654"/>
                            <a:pt x="444647" y="44570"/>
                            <a:pt x="379258" y="977"/>
                          </a:cubicBezTo>
                          <a:cubicBezTo>
                            <a:pt x="342204" y="-7742"/>
                            <a:pt x="198348" y="35851"/>
                            <a:pt x="106803" y="380235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2" name="Freihandform: Form 195">
                      <a:extLst>
                        <a:ext uri="{FF2B5EF4-FFF2-40B4-BE49-F238E27FC236}">
                          <a16:creationId xmlns:a16="http://schemas.microsoft.com/office/drawing/2014/main" id="{14E7A1CD-8C2E-4299-85AD-89FC93C40F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83105" y="1175700"/>
                      <a:ext cx="1020510" cy="371374"/>
                    </a:xfrm>
                    <a:custGeom>
                      <a:avLst/>
                      <a:gdLst>
                        <a:gd name="connsiteX0" fmla="*/ 15258 w 1020510"/>
                        <a:gd name="connsiteY0" fmla="*/ 1153 h 371374"/>
                        <a:gd name="connsiteX1" fmla="*/ 0 w 1020510"/>
                        <a:gd name="connsiteY1" fmla="*/ 55644 h 371374"/>
                        <a:gd name="connsiteX2" fmla="*/ 706205 w 1020510"/>
                        <a:gd name="connsiteY2" fmla="*/ 358615 h 371374"/>
                        <a:gd name="connsiteX3" fmla="*/ 1020074 w 1020510"/>
                        <a:gd name="connsiteY3" fmla="*/ 306303 h 371374"/>
                        <a:gd name="connsiteX4" fmla="*/ 581965 w 1020510"/>
                        <a:gd name="connsiteY4" fmla="*/ 53464 h 371374"/>
                        <a:gd name="connsiteX5" fmla="*/ 15258 w 1020510"/>
                        <a:gd name="connsiteY5" fmla="*/ 1153 h 3713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1374">
                          <a:moveTo>
                            <a:pt x="15258" y="1153"/>
                          </a:moveTo>
                          <a:lnTo>
                            <a:pt x="0" y="55644"/>
                          </a:lnTo>
                          <a:cubicBezTo>
                            <a:pt x="0" y="55644"/>
                            <a:pt x="538372" y="338998"/>
                            <a:pt x="706205" y="358615"/>
                          </a:cubicBezTo>
                          <a:cubicBezTo>
                            <a:pt x="874038" y="378231"/>
                            <a:pt x="980840" y="384770"/>
                            <a:pt x="1020074" y="306303"/>
                          </a:cubicBezTo>
                          <a:cubicBezTo>
                            <a:pt x="1026613" y="262710"/>
                            <a:pt x="963403" y="110135"/>
                            <a:pt x="581965" y="53464"/>
                          </a:cubicBezTo>
                          <a:cubicBezTo>
                            <a:pt x="263737" y="16410"/>
                            <a:pt x="80647" y="-5386"/>
                            <a:pt x="15258" y="115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3" name="Freihandform: Form 196">
                      <a:extLst>
                        <a:ext uri="{FF2B5EF4-FFF2-40B4-BE49-F238E27FC236}">
                          <a16:creationId xmlns:a16="http://schemas.microsoft.com/office/drawing/2014/main" id="{853F5270-C796-4F07-91AD-FEBEE80E3C1B}"/>
                        </a:ext>
                      </a:extLst>
                    </p:cNvPr>
                    <p:cNvSpPr/>
                    <p:nvPr/>
                  </p:nvSpPr>
                  <p:spPr>
                    <a:xfrm rot="173298">
                      <a:off x="11535888" y="876439"/>
                      <a:ext cx="1050588" cy="331192"/>
                    </a:xfrm>
                    <a:custGeom>
                      <a:avLst/>
                      <a:gdLst>
                        <a:gd name="connsiteX0" fmla="*/ 0 w 1050588"/>
                        <a:gd name="connsiteY0" fmla="*/ 348751 h 433246"/>
                        <a:gd name="connsiteX1" fmla="*/ 6539 w 1050588"/>
                        <a:gd name="connsiteY1" fmla="*/ 427218 h 433246"/>
                        <a:gd name="connsiteX2" fmla="*/ 778133 w 1050588"/>
                        <a:gd name="connsiteY2" fmla="*/ 381446 h 433246"/>
                        <a:gd name="connsiteX3" fmla="*/ 1050589 w 1050588"/>
                        <a:gd name="connsiteY3" fmla="*/ 124248 h 433246"/>
                        <a:gd name="connsiteX4" fmla="*/ 547091 w 1050588"/>
                        <a:gd name="connsiteY4" fmla="*/ 69757 h 433246"/>
                        <a:gd name="connsiteX5" fmla="*/ 0 w 1050588"/>
                        <a:gd name="connsiteY5" fmla="*/ 348751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0588" h="433246">
                          <a:moveTo>
                            <a:pt x="0" y="348751"/>
                          </a:moveTo>
                          <a:lnTo>
                            <a:pt x="6539" y="427218"/>
                          </a:lnTo>
                          <a:cubicBezTo>
                            <a:pt x="6539" y="427218"/>
                            <a:pt x="614660" y="457733"/>
                            <a:pt x="778133" y="381446"/>
                          </a:cubicBezTo>
                          <a:cubicBezTo>
                            <a:pt x="941607" y="302979"/>
                            <a:pt x="1044050" y="246308"/>
                            <a:pt x="1050589" y="124248"/>
                          </a:cubicBezTo>
                          <a:cubicBezTo>
                            <a:pt x="1039691" y="65397"/>
                            <a:pt x="924169" y="-89357"/>
                            <a:pt x="547091" y="69757"/>
                          </a:cubicBezTo>
                          <a:cubicBezTo>
                            <a:pt x="235402" y="217972"/>
                            <a:pt x="56671" y="300799"/>
                            <a:pt x="0" y="3487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4" name="Freihandform: Form 197">
                      <a:extLst>
                        <a:ext uri="{FF2B5EF4-FFF2-40B4-BE49-F238E27FC236}">
                          <a16:creationId xmlns:a16="http://schemas.microsoft.com/office/drawing/2014/main" id="{6E308D66-821D-4ED1-8473-F5FF95874A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56950" y="1233524"/>
                      <a:ext cx="800989" cy="693531"/>
                    </a:xfrm>
                    <a:custGeom>
                      <a:avLst/>
                      <a:gdLst>
                        <a:gd name="connsiteX0" fmla="*/ 0 w 800989"/>
                        <a:gd name="connsiteY0" fmla="*/ 43593 h 693531"/>
                        <a:gd name="connsiteX1" fmla="*/ 488240 w 800989"/>
                        <a:gd name="connsiteY1" fmla="*/ 592863 h 693531"/>
                        <a:gd name="connsiteX2" fmla="*/ 789032 w 800989"/>
                        <a:gd name="connsiteY2" fmla="*/ 671331 h 693531"/>
                        <a:gd name="connsiteX3" fmla="*/ 514396 w 800989"/>
                        <a:gd name="connsiteY3" fmla="*/ 272456 h 693531"/>
                        <a:gd name="connsiteX4" fmla="*/ 37054 w 800989"/>
                        <a:gd name="connsiteY4" fmla="*/ 0 h 693531"/>
                        <a:gd name="connsiteX5" fmla="*/ 0 w 800989"/>
                        <a:gd name="connsiteY5" fmla="*/ 43593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0" y="43593"/>
                          </a:moveTo>
                          <a:cubicBezTo>
                            <a:pt x="0" y="43593"/>
                            <a:pt x="348743" y="507857"/>
                            <a:pt x="488240" y="592863"/>
                          </a:cubicBezTo>
                          <a:cubicBezTo>
                            <a:pt x="627738" y="677870"/>
                            <a:pt x="719283" y="723642"/>
                            <a:pt x="789032" y="671331"/>
                          </a:cubicBezTo>
                          <a:cubicBezTo>
                            <a:pt x="815187" y="634277"/>
                            <a:pt x="826085" y="475163"/>
                            <a:pt x="514396" y="272456"/>
                          </a:cubicBezTo>
                          <a:cubicBezTo>
                            <a:pt x="248480" y="113342"/>
                            <a:pt x="95904" y="21796"/>
                            <a:pt x="37054" y="0"/>
                          </a:cubicBezTo>
                          <a:lnTo>
                            <a:pt x="0" y="4359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5" name="Freihandform: Form 198">
                      <a:extLst>
                        <a:ext uri="{FF2B5EF4-FFF2-40B4-BE49-F238E27FC236}">
                          <a16:creationId xmlns:a16="http://schemas.microsoft.com/office/drawing/2014/main" id="{2F06BB4A-E72F-4FBD-96E2-6B172ECA03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5096" y="1277117"/>
                      <a:ext cx="274679" cy="974301"/>
                    </a:xfrm>
                    <a:custGeom>
                      <a:avLst/>
                      <a:gdLst>
                        <a:gd name="connsiteX0" fmla="*/ 142620 w 274679"/>
                        <a:gd name="connsiteY0" fmla="*/ 0 h 974301"/>
                        <a:gd name="connsiteX1" fmla="*/ 85949 w 274679"/>
                        <a:gd name="connsiteY1" fmla="*/ 0 h 974301"/>
                        <a:gd name="connsiteX2" fmla="*/ 5302 w 274679"/>
                        <a:gd name="connsiteY2" fmla="*/ 704025 h 974301"/>
                        <a:gd name="connsiteX3" fmla="*/ 146979 w 274679"/>
                        <a:gd name="connsiteY3" fmla="*/ 974301 h 974301"/>
                        <a:gd name="connsiteX4" fmla="*/ 260321 w 274679"/>
                        <a:gd name="connsiteY4" fmla="*/ 523115 h 974301"/>
                        <a:gd name="connsiteX5" fmla="*/ 142620 w 274679"/>
                        <a:gd name="connsiteY5" fmla="*/ 0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42620" y="0"/>
                          </a:moveTo>
                          <a:lnTo>
                            <a:pt x="85949" y="0"/>
                          </a:lnTo>
                          <a:cubicBezTo>
                            <a:pt x="85949" y="0"/>
                            <a:pt x="-25213" y="549270"/>
                            <a:pt x="5302" y="704025"/>
                          </a:cubicBezTo>
                          <a:cubicBezTo>
                            <a:pt x="35817" y="858780"/>
                            <a:pt x="61973" y="956864"/>
                            <a:pt x="146979" y="974301"/>
                          </a:cubicBezTo>
                          <a:cubicBezTo>
                            <a:pt x="190572" y="969942"/>
                            <a:pt x="316991" y="878397"/>
                            <a:pt x="260321" y="523115"/>
                          </a:cubicBezTo>
                          <a:cubicBezTo>
                            <a:pt x="201470" y="226683"/>
                            <a:pt x="166596" y="56671"/>
                            <a:pt x="142620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6" name="Freihandform: Form 199">
                      <a:extLst>
                        <a:ext uri="{FF2B5EF4-FFF2-40B4-BE49-F238E27FC236}">
                          <a16:creationId xmlns:a16="http://schemas.microsoft.com/office/drawing/2014/main" id="{B1A0EA27-121B-433E-A4CF-AAD69268115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22524" y="1256269"/>
                      <a:ext cx="462825" cy="906861"/>
                    </a:xfrm>
                    <a:custGeom>
                      <a:avLst/>
                      <a:gdLst>
                        <a:gd name="connsiteX0" fmla="*/ 52311 w 462825"/>
                        <a:gd name="connsiteY0" fmla="*/ 0 h 906861"/>
                        <a:gd name="connsiteX1" fmla="*/ 0 w 462825"/>
                        <a:gd name="connsiteY1" fmla="*/ 19617 h 906861"/>
                        <a:gd name="connsiteX2" fmla="*/ 180911 w 462825"/>
                        <a:gd name="connsiteY2" fmla="*/ 706205 h 906861"/>
                        <a:gd name="connsiteX3" fmla="*/ 409773 w 462825"/>
                        <a:gd name="connsiteY3" fmla="*/ 904553 h 906861"/>
                        <a:gd name="connsiteX4" fmla="*/ 348743 w 462825"/>
                        <a:gd name="connsiteY4" fmla="*/ 442468 h 906861"/>
                        <a:gd name="connsiteX5" fmla="*/ 52311 w 462825"/>
                        <a:gd name="connsiteY5" fmla="*/ 0 h 90686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6861">
                          <a:moveTo>
                            <a:pt x="52311" y="0"/>
                          </a:moveTo>
                          <a:lnTo>
                            <a:pt x="0" y="19617"/>
                          </a:lnTo>
                          <a:cubicBezTo>
                            <a:pt x="0" y="19617"/>
                            <a:pt x="95904" y="573247"/>
                            <a:pt x="180911" y="706205"/>
                          </a:cubicBezTo>
                          <a:cubicBezTo>
                            <a:pt x="265917" y="839163"/>
                            <a:pt x="326947" y="921990"/>
                            <a:pt x="409773" y="904553"/>
                          </a:cubicBezTo>
                          <a:cubicBezTo>
                            <a:pt x="449007" y="884936"/>
                            <a:pt x="531833" y="751978"/>
                            <a:pt x="348743" y="442468"/>
                          </a:cubicBezTo>
                          <a:cubicBezTo>
                            <a:pt x="189629" y="189629"/>
                            <a:pt x="95904" y="43593"/>
                            <a:pt x="52311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7" name="Freihandform: Form 200">
                      <a:extLst>
                        <a:ext uri="{FF2B5EF4-FFF2-40B4-BE49-F238E27FC236}">
                          <a16:creationId xmlns:a16="http://schemas.microsoft.com/office/drawing/2014/main" id="{EDD46178-1DF0-4621-81BB-0F49C6E878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50217" y="1226985"/>
                      <a:ext cx="784672" cy="662868"/>
                    </a:xfrm>
                    <a:custGeom>
                      <a:avLst/>
                      <a:gdLst>
                        <a:gd name="connsiteX0" fmla="*/ 440288 w 784672"/>
                        <a:gd name="connsiteY0" fmla="*/ 453366 h 662868"/>
                        <a:gd name="connsiteX1" fmla="*/ 784672 w 784672"/>
                        <a:gd name="connsiteY1" fmla="*/ 45773 h 662868"/>
                        <a:gd name="connsiteX2" fmla="*/ 749798 w 784672"/>
                        <a:gd name="connsiteY2" fmla="*/ 0 h 662868"/>
                        <a:gd name="connsiteX3" fmla="*/ 139497 w 784672"/>
                        <a:gd name="connsiteY3" fmla="*/ 361821 h 662868"/>
                        <a:gd name="connsiteX4" fmla="*/ 10898 w 784672"/>
                        <a:gd name="connsiteY4" fmla="*/ 636456 h 662868"/>
                        <a:gd name="connsiteX5" fmla="*/ 440288 w 784672"/>
                        <a:gd name="connsiteY5" fmla="*/ 453366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440288" y="453366"/>
                          </a:moveTo>
                          <a:cubicBezTo>
                            <a:pt x="638636" y="228863"/>
                            <a:pt x="754157" y="100264"/>
                            <a:pt x="784672" y="45773"/>
                          </a:cubicBezTo>
                          <a:lnTo>
                            <a:pt x="749798" y="0"/>
                          </a:lnTo>
                          <a:cubicBezTo>
                            <a:pt x="749798" y="0"/>
                            <a:pt x="244120" y="244120"/>
                            <a:pt x="139497" y="361821"/>
                          </a:cubicBezTo>
                          <a:cubicBezTo>
                            <a:pt x="34874" y="479522"/>
                            <a:pt x="-26156" y="560169"/>
                            <a:pt x="10898" y="636456"/>
                          </a:cubicBezTo>
                          <a:cubicBezTo>
                            <a:pt x="41413" y="671331"/>
                            <a:pt x="191809" y="714924"/>
                            <a:pt x="440288" y="45336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118" name="Freihandform: Form 201">
                      <a:extLst>
                        <a:ext uri="{FF2B5EF4-FFF2-40B4-BE49-F238E27FC236}">
                          <a16:creationId xmlns:a16="http://schemas.microsoft.com/office/drawing/2014/main" id="{31074599-4291-4DE4-AC9D-D74EA59A4AC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51817" y="1240063"/>
                      <a:ext cx="424485" cy="912038"/>
                    </a:xfrm>
                    <a:custGeom>
                      <a:avLst/>
                      <a:gdLst>
                        <a:gd name="connsiteX0" fmla="*/ 317683 w 424485"/>
                        <a:gd name="connsiteY0" fmla="*/ 531833 h 912038"/>
                        <a:gd name="connsiteX1" fmla="*/ 424486 w 424485"/>
                        <a:gd name="connsiteY1" fmla="*/ 17437 h 912038"/>
                        <a:gd name="connsiteX2" fmla="*/ 376534 w 424485"/>
                        <a:gd name="connsiteY2" fmla="*/ 0 h 912038"/>
                        <a:gd name="connsiteX3" fmla="*/ 29970 w 424485"/>
                        <a:gd name="connsiteY3" fmla="*/ 619019 h 912038"/>
                        <a:gd name="connsiteX4" fmla="*/ 45228 w 424485"/>
                        <a:gd name="connsiteY4" fmla="*/ 911092 h 912038"/>
                        <a:gd name="connsiteX5" fmla="*/ 317683 w 424485"/>
                        <a:gd name="connsiteY5" fmla="*/ 531833 h 9120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38">
                          <a:moveTo>
                            <a:pt x="317683" y="531833"/>
                          </a:moveTo>
                          <a:cubicBezTo>
                            <a:pt x="383073" y="241941"/>
                            <a:pt x="422306" y="76288"/>
                            <a:pt x="424486" y="17437"/>
                          </a:cubicBezTo>
                          <a:lnTo>
                            <a:pt x="376534" y="0"/>
                          </a:lnTo>
                          <a:cubicBezTo>
                            <a:pt x="376534" y="0"/>
                            <a:pt x="64844" y="466444"/>
                            <a:pt x="29970" y="619019"/>
                          </a:cubicBezTo>
                          <a:cubicBezTo>
                            <a:pt x="-4904" y="769415"/>
                            <a:pt x="-20162" y="867499"/>
                            <a:pt x="45228" y="911092"/>
                          </a:cubicBezTo>
                          <a:cubicBezTo>
                            <a:pt x="82282" y="919810"/>
                            <a:pt x="226138" y="874038"/>
                            <a:pt x="317683" y="53183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89" name="Freihandform: Form 172">
                  <a:extLst>
                    <a:ext uri="{FF2B5EF4-FFF2-40B4-BE49-F238E27FC236}">
                      <a16:creationId xmlns:a16="http://schemas.microsoft.com/office/drawing/2014/main" id="{8D56A721-FA85-4A91-82D1-71AB6E6B2F54}"/>
                    </a:ext>
                  </a:extLst>
                </p:cNvPr>
                <p:cNvSpPr/>
                <p:nvPr/>
              </p:nvSpPr>
              <p:spPr>
                <a:xfrm>
                  <a:off x="11282314" y="978505"/>
                  <a:ext cx="414132" cy="396695"/>
                </a:xfrm>
                <a:custGeom>
                  <a:avLst/>
                  <a:gdLst>
                    <a:gd name="connsiteX0" fmla="*/ 414133 w 414132"/>
                    <a:gd name="connsiteY0" fmla="*/ 198348 h 396695"/>
                    <a:gd name="connsiteX1" fmla="*/ 207066 w 414132"/>
                    <a:gd name="connsiteY1" fmla="*/ 396695 h 396695"/>
                    <a:gd name="connsiteX2" fmla="*/ 0 w 414132"/>
                    <a:gd name="connsiteY2" fmla="*/ 198348 h 396695"/>
                    <a:gd name="connsiteX3" fmla="*/ 207066 w 414132"/>
                    <a:gd name="connsiteY3" fmla="*/ 0 h 396695"/>
                    <a:gd name="connsiteX4" fmla="*/ 414133 w 414132"/>
                    <a:gd name="connsiteY4" fmla="*/ 198348 h 396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4132" h="396695">
                      <a:moveTo>
                        <a:pt x="414133" y="198348"/>
                      </a:moveTo>
                      <a:cubicBezTo>
                        <a:pt x="414133" y="307330"/>
                        <a:pt x="322587" y="396695"/>
                        <a:pt x="207066" y="396695"/>
                      </a:cubicBezTo>
                      <a:cubicBezTo>
                        <a:pt x="93725" y="396695"/>
                        <a:pt x="0" y="307330"/>
                        <a:pt x="0" y="198348"/>
                      </a:cubicBezTo>
                      <a:cubicBezTo>
                        <a:pt x="0" y="89365"/>
                        <a:pt x="91545" y="0"/>
                        <a:pt x="207066" y="0"/>
                      </a:cubicBezTo>
                      <a:cubicBezTo>
                        <a:pt x="320408" y="0"/>
                        <a:pt x="414133" y="89365"/>
                        <a:pt x="414133" y="198348"/>
                      </a:cubicBezTo>
                      <a:close/>
                    </a:path>
                  </a:pathLst>
                </a:custGeom>
                <a:solidFill>
                  <a:srgbClr val="FFBB00"/>
                </a:solidFill>
                <a:ln w="2177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87" name="Ellipse 170">
                <a:extLst>
                  <a:ext uri="{FF2B5EF4-FFF2-40B4-BE49-F238E27FC236}">
                    <a16:creationId xmlns:a16="http://schemas.microsoft.com/office/drawing/2014/main" id="{E6F5F2EE-EE39-42B5-AA16-05C1710C54B7}"/>
                  </a:ext>
                </a:extLst>
              </p:cNvPr>
              <p:cNvSpPr/>
              <p:nvPr/>
            </p:nvSpPr>
            <p:spPr bwMode="gray">
              <a:xfrm>
                <a:off x="11227609" y="960958"/>
                <a:ext cx="403666" cy="382238"/>
              </a:xfrm>
              <a:prstGeom prst="ellipse">
                <a:avLst/>
              </a:prstGeom>
              <a:solidFill>
                <a:srgbClr val="FFD066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0000"/>
                  </a:lnSpc>
                </a:pPr>
                <a:endParaRPr lang="de-DE" sz="1600">
                  <a:solidFill>
                    <a:srgbClr val="FFD066"/>
                  </a:solidFill>
                </a:endParaRPr>
              </a:p>
            </p:txBody>
          </p:sp>
        </p:grpSp>
        <p:grpSp>
          <p:nvGrpSpPr>
            <p:cNvPr id="12" name="Gruppieren 168">
              <a:extLst>
                <a:ext uri="{FF2B5EF4-FFF2-40B4-BE49-F238E27FC236}">
                  <a16:creationId xmlns:a16="http://schemas.microsoft.com/office/drawing/2014/main" id="{2D91C88C-0FC8-4E17-90E1-EA65903F4A28}"/>
                </a:ext>
              </a:extLst>
            </p:cNvPr>
            <p:cNvGrpSpPr/>
            <p:nvPr/>
          </p:nvGrpSpPr>
          <p:grpSpPr>
            <a:xfrm>
              <a:off x="9935468" y="336447"/>
              <a:ext cx="702670" cy="712587"/>
              <a:chOff x="10366017" y="30973"/>
              <a:chExt cx="2246316" cy="2278019"/>
            </a:xfrm>
          </p:grpSpPr>
          <p:grpSp>
            <p:nvGrpSpPr>
              <p:cNvPr id="53" name="Grafik 5">
                <a:extLst>
                  <a:ext uri="{FF2B5EF4-FFF2-40B4-BE49-F238E27FC236}">
                    <a16:creationId xmlns:a16="http://schemas.microsoft.com/office/drawing/2014/main" id="{3526A497-56FC-4DB3-81D4-C0F34FE9E373}"/>
                  </a:ext>
                </a:extLst>
              </p:cNvPr>
              <p:cNvGrpSpPr/>
              <p:nvPr/>
            </p:nvGrpSpPr>
            <p:grpSpPr>
              <a:xfrm>
                <a:off x="10366017" y="30973"/>
                <a:ext cx="2246316" cy="2278019"/>
                <a:chOff x="10396141" y="22604"/>
                <a:chExt cx="2246316" cy="2278019"/>
              </a:xfrm>
            </p:grpSpPr>
            <p:grpSp>
              <p:nvGrpSpPr>
                <p:cNvPr id="55" name="Grafik 5">
                  <a:extLst>
                    <a:ext uri="{FF2B5EF4-FFF2-40B4-BE49-F238E27FC236}">
                      <a16:creationId xmlns:a16="http://schemas.microsoft.com/office/drawing/2014/main" id="{8845A494-1235-403C-AE8D-CCF7C3574357}"/>
                    </a:ext>
                  </a:extLst>
                </p:cNvPr>
                <p:cNvGrpSpPr/>
                <p:nvPr/>
              </p:nvGrpSpPr>
              <p:grpSpPr>
                <a:xfrm>
                  <a:off x="10396141" y="22604"/>
                  <a:ext cx="2246316" cy="2278019"/>
                  <a:chOff x="10396141" y="22604"/>
                  <a:chExt cx="2246316" cy="2278019"/>
                </a:xfrm>
              </p:grpSpPr>
              <p:sp>
                <p:nvSpPr>
                  <p:cNvPr id="57" name="Freihandform: Form 173">
                    <a:extLst>
                      <a:ext uri="{FF2B5EF4-FFF2-40B4-BE49-F238E27FC236}">
                        <a16:creationId xmlns:a16="http://schemas.microsoft.com/office/drawing/2014/main" id="{69A78EF7-1C34-4160-90B0-123CFD15D71E}"/>
                      </a:ext>
                    </a:extLst>
                  </p:cNvPr>
                  <p:cNvSpPr/>
                  <p:nvPr/>
                </p:nvSpPr>
                <p:spPr>
                  <a:xfrm>
                    <a:off x="11561309" y="346257"/>
                    <a:ext cx="822081" cy="810979"/>
                  </a:xfrm>
                  <a:custGeom>
                    <a:avLst/>
                    <a:gdLst>
                      <a:gd name="connsiteX0" fmla="*/ 0 w 822081"/>
                      <a:gd name="connsiteY0" fmla="*/ 769566 h 810979"/>
                      <a:gd name="connsiteX1" fmla="*/ 41413 w 822081"/>
                      <a:gd name="connsiteY1" fmla="*/ 810980 h 810979"/>
                      <a:gd name="connsiteX2" fmla="*/ 686588 w 822081"/>
                      <a:gd name="connsiteY2" fmla="*/ 329278 h 810979"/>
                      <a:gd name="connsiteX3" fmla="*/ 804289 w 822081"/>
                      <a:gd name="connsiteY3" fmla="*/ 15409 h 810979"/>
                      <a:gd name="connsiteX4" fmla="*/ 344384 w 822081"/>
                      <a:gd name="connsiteY4" fmla="*/ 279146 h 810979"/>
                      <a:gd name="connsiteX5" fmla="*/ 0 w 822081"/>
                      <a:gd name="connsiteY5" fmla="*/ 769566 h 8109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10979">
                        <a:moveTo>
                          <a:pt x="0" y="769566"/>
                        </a:moveTo>
                        <a:lnTo>
                          <a:pt x="41413" y="810980"/>
                        </a:lnTo>
                        <a:cubicBezTo>
                          <a:pt x="41413" y="810980"/>
                          <a:pt x="579786" y="470955"/>
                          <a:pt x="686588" y="329278"/>
                        </a:cubicBezTo>
                        <a:cubicBezTo>
                          <a:pt x="793391" y="187601"/>
                          <a:pt x="854421" y="91697"/>
                          <a:pt x="804289" y="15409"/>
                        </a:cubicBezTo>
                        <a:cubicBezTo>
                          <a:pt x="767235" y="-12926"/>
                          <a:pt x="597223" y="-36902"/>
                          <a:pt x="344384" y="279146"/>
                        </a:cubicBezTo>
                        <a:cubicBezTo>
                          <a:pt x="143857" y="553782"/>
                          <a:pt x="28335" y="708536"/>
                          <a:pt x="0" y="769566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" name="Freihandform: Form 174">
                    <a:extLst>
                      <a:ext uri="{FF2B5EF4-FFF2-40B4-BE49-F238E27FC236}">
                        <a16:creationId xmlns:a16="http://schemas.microsoft.com/office/drawing/2014/main" id="{0E963FA4-63B3-4DFA-BC7D-66EA32F8C4C3}"/>
                      </a:ext>
                    </a:extLst>
                  </p:cNvPr>
                  <p:cNvSpPr/>
                  <p:nvPr/>
                </p:nvSpPr>
                <p:spPr>
                  <a:xfrm>
                    <a:off x="11584523" y="64140"/>
                    <a:ext cx="447589" cy="1112779"/>
                  </a:xfrm>
                  <a:custGeom>
                    <a:avLst/>
                    <a:gdLst>
                      <a:gd name="connsiteX0" fmla="*/ 4393 w 447589"/>
                      <a:gd name="connsiteY0" fmla="*/ 1077905 h 1112779"/>
                      <a:gd name="connsiteX1" fmla="*/ 78501 w 447589"/>
                      <a:gd name="connsiteY1" fmla="*/ 1112779 h 1112779"/>
                      <a:gd name="connsiteX2" fmla="*/ 440322 w 447589"/>
                      <a:gd name="connsiteY2" fmla="*/ 389137 h 1112779"/>
                      <a:gd name="connsiteX3" fmla="*/ 350957 w 447589"/>
                      <a:gd name="connsiteY3" fmla="*/ 5520 h 1112779"/>
                      <a:gd name="connsiteX4" fmla="*/ 39268 w 447589"/>
                      <a:gd name="connsiteY4" fmla="*/ 432730 h 1112779"/>
                      <a:gd name="connsiteX5" fmla="*/ 4393 w 447589"/>
                      <a:gd name="connsiteY5" fmla="*/ 1077905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7589" h="1112779">
                        <a:moveTo>
                          <a:pt x="4393" y="1077905"/>
                        </a:moveTo>
                        <a:lnTo>
                          <a:pt x="78501" y="1112779"/>
                        </a:lnTo>
                        <a:cubicBezTo>
                          <a:pt x="78501" y="1112779"/>
                          <a:pt x="425065" y="576587"/>
                          <a:pt x="440322" y="389137"/>
                        </a:cubicBezTo>
                        <a:cubicBezTo>
                          <a:pt x="455580" y="199508"/>
                          <a:pt x="455580" y="77448"/>
                          <a:pt x="350957" y="5520"/>
                        </a:cubicBezTo>
                        <a:cubicBezTo>
                          <a:pt x="292106" y="-16277"/>
                          <a:pt x="91579" y="7699"/>
                          <a:pt x="39268" y="432730"/>
                        </a:cubicBezTo>
                        <a:cubicBezTo>
                          <a:pt x="8752" y="794551"/>
                          <a:pt x="-8685" y="1001617"/>
                          <a:pt x="4393" y="1077905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" name="Freihandform: Form 175">
                    <a:extLst>
                      <a:ext uri="{FF2B5EF4-FFF2-40B4-BE49-F238E27FC236}">
                        <a16:creationId xmlns:a16="http://schemas.microsoft.com/office/drawing/2014/main" id="{B5E55859-FECB-41B4-A563-20535E324570}"/>
                      </a:ext>
                    </a:extLst>
                  </p:cNvPr>
                  <p:cNvSpPr/>
                  <p:nvPr/>
                </p:nvSpPr>
                <p:spPr>
                  <a:xfrm>
                    <a:off x="11600346" y="686711"/>
                    <a:ext cx="1003874" cy="450498"/>
                  </a:xfrm>
                  <a:custGeom>
                    <a:avLst/>
                    <a:gdLst>
                      <a:gd name="connsiteX0" fmla="*/ 19617 w 1003874"/>
                      <a:gd name="connsiteY0" fmla="*/ 450498 h 450498"/>
                      <a:gd name="connsiteX1" fmla="*/ 773774 w 1003874"/>
                      <a:gd name="connsiteY1" fmla="*/ 293564 h 450498"/>
                      <a:gd name="connsiteX2" fmla="*/ 1002637 w 1003874"/>
                      <a:gd name="connsiteY2" fmla="*/ 62522 h 450498"/>
                      <a:gd name="connsiteX3" fmla="*/ 496959 w 1003874"/>
                      <a:gd name="connsiteY3" fmla="*/ 101755 h 450498"/>
                      <a:gd name="connsiteX4" fmla="*/ 0 w 1003874"/>
                      <a:gd name="connsiteY4" fmla="*/ 391648 h 450498"/>
                      <a:gd name="connsiteX5" fmla="*/ 19617 w 1003874"/>
                      <a:gd name="connsiteY5" fmla="*/ 450498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19617" y="450498"/>
                        </a:moveTo>
                        <a:cubicBezTo>
                          <a:pt x="19617" y="450498"/>
                          <a:pt x="623378" y="376390"/>
                          <a:pt x="773774" y="293564"/>
                        </a:cubicBezTo>
                        <a:cubicBezTo>
                          <a:pt x="924169" y="210737"/>
                          <a:pt x="1015714" y="151887"/>
                          <a:pt x="1002637" y="62522"/>
                        </a:cubicBezTo>
                        <a:cubicBezTo>
                          <a:pt x="983020" y="21108"/>
                          <a:pt x="843523" y="-72616"/>
                          <a:pt x="496959" y="101755"/>
                        </a:cubicBezTo>
                        <a:cubicBezTo>
                          <a:pt x="211426" y="258690"/>
                          <a:pt x="50132" y="350235"/>
                          <a:pt x="0" y="391648"/>
                        </a:cubicBezTo>
                        <a:lnTo>
                          <a:pt x="19617" y="450498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0" name="Freihandform: Form 176">
                    <a:extLst>
                      <a:ext uri="{FF2B5EF4-FFF2-40B4-BE49-F238E27FC236}">
                        <a16:creationId xmlns:a16="http://schemas.microsoft.com/office/drawing/2014/main" id="{0ACC9DC6-5265-4A57-A89C-AA08FC9122B3}"/>
                      </a:ext>
                    </a:extLst>
                  </p:cNvPr>
                  <p:cNvSpPr/>
                  <p:nvPr/>
                </p:nvSpPr>
                <p:spPr>
                  <a:xfrm>
                    <a:off x="11558883" y="1289985"/>
                    <a:ext cx="920658" cy="548241"/>
                  </a:xfrm>
                  <a:custGeom>
                    <a:avLst/>
                    <a:gdLst>
                      <a:gd name="connsiteX0" fmla="*/ 30515 w 920658"/>
                      <a:gd name="connsiteY0" fmla="*/ 0 h 548241"/>
                      <a:gd name="connsiteX1" fmla="*/ 0 w 920658"/>
                      <a:gd name="connsiteY1" fmla="*/ 52311 h 548241"/>
                      <a:gd name="connsiteX2" fmla="*/ 597223 w 920658"/>
                      <a:gd name="connsiteY2" fmla="*/ 494779 h 548241"/>
                      <a:gd name="connsiteX3" fmla="*/ 915451 w 920658"/>
                      <a:gd name="connsiteY3" fmla="*/ 507857 h 548241"/>
                      <a:gd name="connsiteX4" fmla="*/ 564528 w 920658"/>
                      <a:gd name="connsiteY4" fmla="*/ 167833 h 548241"/>
                      <a:gd name="connsiteX5" fmla="*/ 30515 w 920658"/>
                      <a:gd name="connsiteY5" fmla="*/ 0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30515" y="0"/>
                        </a:moveTo>
                        <a:lnTo>
                          <a:pt x="0" y="52311"/>
                        </a:lnTo>
                        <a:cubicBezTo>
                          <a:pt x="0" y="52311"/>
                          <a:pt x="440288" y="442468"/>
                          <a:pt x="597223" y="494779"/>
                        </a:cubicBezTo>
                        <a:cubicBezTo>
                          <a:pt x="754157" y="549270"/>
                          <a:pt x="856600" y="575426"/>
                          <a:pt x="915451" y="507857"/>
                        </a:cubicBezTo>
                        <a:cubicBezTo>
                          <a:pt x="935068" y="466444"/>
                          <a:pt x="915451" y="302971"/>
                          <a:pt x="564528" y="167833"/>
                        </a:cubicBezTo>
                        <a:cubicBezTo>
                          <a:pt x="265917" y="67569"/>
                          <a:pt x="93725" y="8719"/>
                          <a:pt x="30515" y="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" name="Freihandform: Form 177">
                    <a:extLst>
                      <a:ext uri="{FF2B5EF4-FFF2-40B4-BE49-F238E27FC236}">
                        <a16:creationId xmlns:a16="http://schemas.microsoft.com/office/drawing/2014/main" id="{34414CF9-C9FE-4635-9761-CFFCE9226390}"/>
                      </a:ext>
                    </a:extLst>
                  </p:cNvPr>
                  <p:cNvSpPr/>
                  <p:nvPr/>
                </p:nvSpPr>
                <p:spPr>
                  <a:xfrm>
                    <a:off x="11624519" y="1130985"/>
                    <a:ext cx="1017938" cy="292322"/>
                  </a:xfrm>
                  <a:custGeom>
                    <a:avLst/>
                    <a:gdLst>
                      <a:gd name="connsiteX0" fmla="*/ 8719 w 1017938"/>
                      <a:gd name="connsiteY0" fmla="*/ 37150 h 292322"/>
                      <a:gd name="connsiteX1" fmla="*/ 0 w 1017938"/>
                      <a:gd name="connsiteY1" fmla="*/ 96000 h 292322"/>
                      <a:gd name="connsiteX2" fmla="*/ 717103 w 1017938"/>
                      <a:gd name="connsiteY2" fmla="*/ 292168 h 292322"/>
                      <a:gd name="connsiteX3" fmla="*/ 1017894 w 1017938"/>
                      <a:gd name="connsiteY3" fmla="*/ 187545 h 292322"/>
                      <a:gd name="connsiteX4" fmla="*/ 566708 w 1017938"/>
                      <a:gd name="connsiteY4" fmla="*/ 96 h 292322"/>
                      <a:gd name="connsiteX5" fmla="*/ 8719 w 1017938"/>
                      <a:gd name="connsiteY5" fmla="*/ 37150 h 2923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2322">
                        <a:moveTo>
                          <a:pt x="8719" y="37150"/>
                        </a:moveTo>
                        <a:lnTo>
                          <a:pt x="0" y="96000"/>
                        </a:lnTo>
                        <a:cubicBezTo>
                          <a:pt x="0" y="96000"/>
                          <a:pt x="551450" y="298707"/>
                          <a:pt x="717103" y="292168"/>
                        </a:cubicBezTo>
                        <a:cubicBezTo>
                          <a:pt x="882756" y="285629"/>
                          <a:pt x="987379" y="272551"/>
                          <a:pt x="1017894" y="187545"/>
                        </a:cubicBezTo>
                        <a:cubicBezTo>
                          <a:pt x="1020074" y="141772"/>
                          <a:pt x="943786" y="-4264"/>
                          <a:pt x="566708" y="96"/>
                        </a:cubicBezTo>
                        <a:cubicBezTo>
                          <a:pt x="252839" y="13173"/>
                          <a:pt x="71928" y="21892"/>
                          <a:pt x="8719" y="3715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" name="Freihandform: Form 178">
                    <a:extLst>
                      <a:ext uri="{FF2B5EF4-FFF2-40B4-BE49-F238E27FC236}">
                        <a16:creationId xmlns:a16="http://schemas.microsoft.com/office/drawing/2014/main" id="{67FDC17C-D326-4202-BCF6-DC72867AF978}"/>
                      </a:ext>
                    </a:extLst>
                  </p:cNvPr>
                  <p:cNvSpPr/>
                  <p:nvPr/>
                </p:nvSpPr>
                <p:spPr>
                  <a:xfrm>
                    <a:off x="11600661" y="1229231"/>
                    <a:ext cx="309026" cy="1011355"/>
                  </a:xfrm>
                  <a:custGeom>
                    <a:avLst/>
                    <a:gdLst>
                      <a:gd name="connsiteX0" fmla="*/ 265508 w 309026"/>
                      <a:gd name="connsiteY0" fmla="*/ 527474 h 1011355"/>
                      <a:gd name="connsiteX1" fmla="*/ 75879 w 309026"/>
                      <a:gd name="connsiteY1" fmla="*/ 0 h 1011355"/>
                      <a:gd name="connsiteX2" fmla="*/ 17028 w 309026"/>
                      <a:gd name="connsiteY2" fmla="*/ 6539 h 1011355"/>
                      <a:gd name="connsiteX3" fmla="*/ 25747 w 309026"/>
                      <a:gd name="connsiteY3" fmla="*/ 749798 h 1011355"/>
                      <a:gd name="connsiteX4" fmla="*/ 208837 w 309026"/>
                      <a:gd name="connsiteY4" fmla="*/ 1011355 h 1011355"/>
                      <a:gd name="connsiteX5" fmla="*/ 265508 w 309026"/>
                      <a:gd name="connsiteY5" fmla="*/ 527474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265508" y="527474"/>
                        </a:moveTo>
                        <a:cubicBezTo>
                          <a:pt x="165244" y="228863"/>
                          <a:pt x="108574" y="56671"/>
                          <a:pt x="75879" y="0"/>
                        </a:cubicBezTo>
                        <a:lnTo>
                          <a:pt x="17028" y="6539"/>
                        </a:lnTo>
                        <a:cubicBezTo>
                          <a:pt x="17028" y="6539"/>
                          <a:pt x="-26564" y="592863"/>
                          <a:pt x="25747" y="749798"/>
                        </a:cubicBezTo>
                        <a:cubicBezTo>
                          <a:pt x="78059" y="906732"/>
                          <a:pt x="119472" y="1004816"/>
                          <a:pt x="208837" y="1011355"/>
                        </a:cubicBezTo>
                        <a:cubicBezTo>
                          <a:pt x="254610" y="1002637"/>
                          <a:pt x="372311" y="889295"/>
                          <a:pt x="265508" y="5274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" name="Freihandform: Form 179">
                    <a:extLst>
                      <a:ext uri="{FF2B5EF4-FFF2-40B4-BE49-F238E27FC236}">
                        <a16:creationId xmlns:a16="http://schemas.microsoft.com/office/drawing/2014/main" id="{87EE647A-CC59-4D1D-BB28-12B61A2081F8}"/>
                      </a:ext>
                    </a:extLst>
                  </p:cNvPr>
                  <p:cNvSpPr/>
                  <p:nvPr/>
                </p:nvSpPr>
                <p:spPr>
                  <a:xfrm>
                    <a:off x="11580683" y="1207046"/>
                    <a:ext cx="670938" cy="823422"/>
                  </a:xfrm>
                  <a:custGeom>
                    <a:avLst/>
                    <a:gdLst>
                      <a:gd name="connsiteX0" fmla="*/ 451186 w 670938"/>
                      <a:gd name="connsiteY0" fmla="*/ 366180 h 823422"/>
                      <a:gd name="connsiteX1" fmla="*/ 41413 w 670938"/>
                      <a:gd name="connsiteY1" fmla="*/ 0 h 823422"/>
                      <a:gd name="connsiteX2" fmla="*/ 0 w 670938"/>
                      <a:gd name="connsiteY2" fmla="*/ 34874 h 823422"/>
                      <a:gd name="connsiteX3" fmla="*/ 379258 w 670938"/>
                      <a:gd name="connsiteY3" fmla="*/ 673510 h 823422"/>
                      <a:gd name="connsiteX4" fmla="*/ 651714 w 670938"/>
                      <a:gd name="connsiteY4" fmla="*/ 813008 h 823422"/>
                      <a:gd name="connsiteX5" fmla="*/ 451186 w 670938"/>
                      <a:gd name="connsiteY5" fmla="*/ 366180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451186" y="366180"/>
                        </a:moveTo>
                        <a:cubicBezTo>
                          <a:pt x="224503" y="154755"/>
                          <a:pt x="93725" y="32695"/>
                          <a:pt x="41413" y="0"/>
                        </a:cubicBezTo>
                        <a:lnTo>
                          <a:pt x="0" y="34874"/>
                        </a:lnTo>
                        <a:cubicBezTo>
                          <a:pt x="0" y="34874"/>
                          <a:pt x="261557" y="562348"/>
                          <a:pt x="379258" y="673510"/>
                        </a:cubicBezTo>
                        <a:cubicBezTo>
                          <a:pt x="499139" y="784672"/>
                          <a:pt x="577606" y="850061"/>
                          <a:pt x="651714" y="813008"/>
                        </a:cubicBezTo>
                        <a:cubicBezTo>
                          <a:pt x="680049" y="782492"/>
                          <a:pt x="714923" y="629917"/>
                          <a:pt x="451186" y="36618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" name="Freihandform: Form 180">
                    <a:extLst>
                      <a:ext uri="{FF2B5EF4-FFF2-40B4-BE49-F238E27FC236}">
                        <a16:creationId xmlns:a16="http://schemas.microsoft.com/office/drawing/2014/main" id="{6C0701D4-E3CB-4142-8941-B65C767FBA27}"/>
                      </a:ext>
                    </a:extLst>
                  </p:cNvPr>
                  <p:cNvSpPr/>
                  <p:nvPr/>
                </p:nvSpPr>
                <p:spPr>
                  <a:xfrm>
                    <a:off x="10684134" y="1200498"/>
                    <a:ext cx="822081" cy="808800"/>
                  </a:xfrm>
                  <a:custGeom>
                    <a:avLst/>
                    <a:gdLst>
                      <a:gd name="connsiteX0" fmla="*/ 822081 w 822081"/>
                      <a:gd name="connsiteY0" fmla="*/ 41413 h 808800"/>
                      <a:gd name="connsiteX1" fmla="*/ 780668 w 822081"/>
                      <a:gd name="connsiteY1" fmla="*/ 0 h 808800"/>
                      <a:gd name="connsiteX2" fmla="*/ 135493 w 822081"/>
                      <a:gd name="connsiteY2" fmla="*/ 481701 h 808800"/>
                      <a:gd name="connsiteX3" fmla="*/ 17792 w 822081"/>
                      <a:gd name="connsiteY3" fmla="*/ 793391 h 808800"/>
                      <a:gd name="connsiteX4" fmla="*/ 477697 w 822081"/>
                      <a:gd name="connsiteY4" fmla="*/ 529654 h 808800"/>
                      <a:gd name="connsiteX5" fmla="*/ 822081 w 822081"/>
                      <a:gd name="connsiteY5" fmla="*/ 41413 h 808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08800">
                        <a:moveTo>
                          <a:pt x="822081" y="41413"/>
                        </a:moveTo>
                        <a:lnTo>
                          <a:pt x="780668" y="0"/>
                        </a:lnTo>
                        <a:cubicBezTo>
                          <a:pt x="780668" y="0"/>
                          <a:pt x="242296" y="340025"/>
                          <a:pt x="135493" y="481701"/>
                        </a:cubicBezTo>
                        <a:cubicBezTo>
                          <a:pt x="28691" y="623378"/>
                          <a:pt x="-32339" y="719283"/>
                          <a:pt x="17792" y="793391"/>
                        </a:cubicBezTo>
                        <a:cubicBezTo>
                          <a:pt x="54846" y="821726"/>
                          <a:pt x="224859" y="845702"/>
                          <a:pt x="477697" y="529654"/>
                        </a:cubicBezTo>
                        <a:cubicBezTo>
                          <a:pt x="676045" y="259378"/>
                          <a:pt x="791566" y="104623"/>
                          <a:pt x="822081" y="4141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5" name="Freihandform: Form 181">
                    <a:extLst>
                      <a:ext uri="{FF2B5EF4-FFF2-40B4-BE49-F238E27FC236}">
                        <a16:creationId xmlns:a16="http://schemas.microsoft.com/office/drawing/2014/main" id="{7C856744-E57C-4608-8C3A-979D974D07F0}"/>
                      </a:ext>
                    </a:extLst>
                  </p:cNvPr>
                  <p:cNvSpPr/>
                  <p:nvPr/>
                </p:nvSpPr>
                <p:spPr>
                  <a:xfrm>
                    <a:off x="11103490" y="1187844"/>
                    <a:ext cx="446476" cy="1112779"/>
                  </a:xfrm>
                  <a:custGeom>
                    <a:avLst/>
                    <a:gdLst>
                      <a:gd name="connsiteX0" fmla="*/ 443197 w 446476"/>
                      <a:gd name="connsiteY0" fmla="*/ 34874 h 1112779"/>
                      <a:gd name="connsiteX1" fmla="*/ 369089 w 446476"/>
                      <a:gd name="connsiteY1" fmla="*/ 0 h 1112779"/>
                      <a:gd name="connsiteX2" fmla="*/ 7268 w 446476"/>
                      <a:gd name="connsiteY2" fmla="*/ 723642 h 1112779"/>
                      <a:gd name="connsiteX3" fmla="*/ 96633 w 446476"/>
                      <a:gd name="connsiteY3" fmla="*/ 1107260 h 1112779"/>
                      <a:gd name="connsiteX4" fmla="*/ 408322 w 446476"/>
                      <a:gd name="connsiteY4" fmla="*/ 680049 h 1112779"/>
                      <a:gd name="connsiteX5" fmla="*/ 443197 w 446476"/>
                      <a:gd name="connsiteY5" fmla="*/ 34874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6476" h="1112779">
                        <a:moveTo>
                          <a:pt x="443197" y="34874"/>
                        </a:moveTo>
                        <a:lnTo>
                          <a:pt x="369089" y="0"/>
                        </a:lnTo>
                        <a:cubicBezTo>
                          <a:pt x="369089" y="0"/>
                          <a:pt x="22525" y="536193"/>
                          <a:pt x="7268" y="723642"/>
                        </a:cubicBezTo>
                        <a:cubicBezTo>
                          <a:pt x="-7990" y="913271"/>
                          <a:pt x="-7990" y="1035331"/>
                          <a:pt x="96633" y="1107260"/>
                        </a:cubicBezTo>
                        <a:cubicBezTo>
                          <a:pt x="155483" y="1129056"/>
                          <a:pt x="356011" y="1105080"/>
                          <a:pt x="408322" y="680049"/>
                        </a:cubicBezTo>
                        <a:cubicBezTo>
                          <a:pt x="436658" y="318228"/>
                          <a:pt x="454095" y="111162"/>
                          <a:pt x="443197" y="348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" name="Freihandform: Form 182">
                    <a:extLst>
                      <a:ext uri="{FF2B5EF4-FFF2-40B4-BE49-F238E27FC236}">
                        <a16:creationId xmlns:a16="http://schemas.microsoft.com/office/drawing/2014/main" id="{5AB67C3E-1337-4AAC-9067-FB0CEACBE81B}"/>
                      </a:ext>
                    </a:extLst>
                  </p:cNvPr>
                  <p:cNvSpPr/>
                  <p:nvPr/>
                </p:nvSpPr>
                <p:spPr>
                  <a:xfrm>
                    <a:off x="10396141" y="1131081"/>
                    <a:ext cx="1003874" cy="450498"/>
                  </a:xfrm>
                  <a:custGeom>
                    <a:avLst/>
                    <a:gdLst>
                      <a:gd name="connsiteX0" fmla="*/ 984257 w 1003874"/>
                      <a:gd name="connsiteY0" fmla="*/ 0 h 450498"/>
                      <a:gd name="connsiteX1" fmla="*/ 230100 w 1003874"/>
                      <a:gd name="connsiteY1" fmla="*/ 156934 h 450498"/>
                      <a:gd name="connsiteX2" fmla="*/ 1237 w 1003874"/>
                      <a:gd name="connsiteY2" fmla="*/ 387977 h 450498"/>
                      <a:gd name="connsiteX3" fmla="*/ 506915 w 1003874"/>
                      <a:gd name="connsiteY3" fmla="*/ 348743 h 450498"/>
                      <a:gd name="connsiteX4" fmla="*/ 1003874 w 1003874"/>
                      <a:gd name="connsiteY4" fmla="*/ 58850 h 450498"/>
                      <a:gd name="connsiteX5" fmla="*/ 984257 w 1003874"/>
                      <a:gd name="connsiteY5" fmla="*/ 0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984257" y="0"/>
                        </a:moveTo>
                        <a:cubicBezTo>
                          <a:pt x="984257" y="0"/>
                          <a:pt x="380496" y="74108"/>
                          <a:pt x="230100" y="156934"/>
                        </a:cubicBezTo>
                        <a:cubicBezTo>
                          <a:pt x="79705" y="239761"/>
                          <a:pt x="-11840" y="298611"/>
                          <a:pt x="1237" y="387977"/>
                        </a:cubicBezTo>
                        <a:cubicBezTo>
                          <a:pt x="20854" y="429390"/>
                          <a:pt x="160352" y="523115"/>
                          <a:pt x="506915" y="348743"/>
                        </a:cubicBezTo>
                        <a:cubicBezTo>
                          <a:pt x="792449" y="191809"/>
                          <a:pt x="953742" y="100264"/>
                          <a:pt x="1003874" y="58850"/>
                        </a:cubicBezTo>
                        <a:lnTo>
                          <a:pt x="984257" y="0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" name="Freihandform: Form 183">
                    <a:extLst>
                      <a:ext uri="{FF2B5EF4-FFF2-40B4-BE49-F238E27FC236}">
                        <a16:creationId xmlns:a16="http://schemas.microsoft.com/office/drawing/2014/main" id="{66FDD839-98DA-4346-BE6D-F2BCBA048F28}"/>
                      </a:ext>
                    </a:extLst>
                  </p:cNvPr>
                  <p:cNvSpPr/>
                  <p:nvPr/>
                </p:nvSpPr>
                <p:spPr>
                  <a:xfrm>
                    <a:off x="10585147" y="494585"/>
                    <a:ext cx="920658" cy="548241"/>
                  </a:xfrm>
                  <a:custGeom>
                    <a:avLst/>
                    <a:gdLst>
                      <a:gd name="connsiteX0" fmla="*/ 890144 w 920658"/>
                      <a:gd name="connsiteY0" fmla="*/ 548241 h 548241"/>
                      <a:gd name="connsiteX1" fmla="*/ 920659 w 920658"/>
                      <a:gd name="connsiteY1" fmla="*/ 495930 h 548241"/>
                      <a:gd name="connsiteX2" fmla="*/ 323436 w 920658"/>
                      <a:gd name="connsiteY2" fmla="*/ 53462 h 548241"/>
                      <a:gd name="connsiteX3" fmla="*/ 5208 w 920658"/>
                      <a:gd name="connsiteY3" fmla="*/ 40384 h 548241"/>
                      <a:gd name="connsiteX4" fmla="*/ 356131 w 920658"/>
                      <a:gd name="connsiteY4" fmla="*/ 380409 h 548241"/>
                      <a:gd name="connsiteX5" fmla="*/ 890144 w 920658"/>
                      <a:gd name="connsiteY5" fmla="*/ 548241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890144" y="548241"/>
                        </a:moveTo>
                        <a:lnTo>
                          <a:pt x="920659" y="495930"/>
                        </a:lnTo>
                        <a:cubicBezTo>
                          <a:pt x="920659" y="495930"/>
                          <a:pt x="480371" y="105773"/>
                          <a:pt x="323436" y="53462"/>
                        </a:cubicBezTo>
                        <a:cubicBezTo>
                          <a:pt x="166502" y="-1029"/>
                          <a:pt x="64059" y="-27185"/>
                          <a:pt x="5208" y="40384"/>
                        </a:cubicBezTo>
                        <a:cubicBezTo>
                          <a:pt x="-14409" y="81797"/>
                          <a:pt x="5208" y="245271"/>
                          <a:pt x="356131" y="380409"/>
                        </a:cubicBezTo>
                        <a:cubicBezTo>
                          <a:pt x="654742" y="482852"/>
                          <a:pt x="826934" y="541702"/>
                          <a:pt x="890144" y="54824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" name="Freihandform: Form 184">
                    <a:extLst>
                      <a:ext uri="{FF2B5EF4-FFF2-40B4-BE49-F238E27FC236}">
                        <a16:creationId xmlns:a16="http://schemas.microsoft.com/office/drawing/2014/main" id="{2C3B9209-900B-462D-AB80-24BCE7D2275E}"/>
                      </a:ext>
                    </a:extLst>
                  </p:cNvPr>
                  <p:cNvSpPr/>
                  <p:nvPr/>
                </p:nvSpPr>
                <p:spPr>
                  <a:xfrm>
                    <a:off x="10408443" y="881147"/>
                    <a:ext cx="1017938" cy="294502"/>
                  </a:xfrm>
                  <a:custGeom>
                    <a:avLst/>
                    <a:gdLst>
                      <a:gd name="connsiteX0" fmla="*/ 1009220 w 1017938"/>
                      <a:gd name="connsiteY0" fmla="*/ 255173 h 294502"/>
                      <a:gd name="connsiteX1" fmla="*/ 1017939 w 1017938"/>
                      <a:gd name="connsiteY1" fmla="*/ 196323 h 294502"/>
                      <a:gd name="connsiteX2" fmla="*/ 300836 w 1017938"/>
                      <a:gd name="connsiteY2" fmla="*/ 155 h 294502"/>
                      <a:gd name="connsiteX3" fmla="*/ 45 w 1017938"/>
                      <a:gd name="connsiteY3" fmla="*/ 106957 h 294502"/>
                      <a:gd name="connsiteX4" fmla="*/ 451231 w 1017938"/>
                      <a:gd name="connsiteY4" fmla="*/ 294407 h 294502"/>
                      <a:gd name="connsiteX5" fmla="*/ 1009220 w 1017938"/>
                      <a:gd name="connsiteY5" fmla="*/ 255173 h 2945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4502">
                        <a:moveTo>
                          <a:pt x="1009220" y="255173"/>
                        </a:moveTo>
                        <a:lnTo>
                          <a:pt x="1017939" y="196323"/>
                        </a:lnTo>
                        <a:cubicBezTo>
                          <a:pt x="1017939" y="196323"/>
                          <a:pt x="466489" y="-6384"/>
                          <a:pt x="300836" y="155"/>
                        </a:cubicBezTo>
                        <a:cubicBezTo>
                          <a:pt x="135183" y="8873"/>
                          <a:pt x="30560" y="19772"/>
                          <a:pt x="45" y="106957"/>
                        </a:cubicBezTo>
                        <a:cubicBezTo>
                          <a:pt x="-2135" y="152730"/>
                          <a:pt x="74153" y="298766"/>
                          <a:pt x="451231" y="294407"/>
                        </a:cubicBezTo>
                        <a:cubicBezTo>
                          <a:pt x="767280" y="279149"/>
                          <a:pt x="948190" y="272610"/>
                          <a:pt x="1009220" y="25517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" name="Freihandform: Form 185">
                    <a:extLst>
                      <a:ext uri="{FF2B5EF4-FFF2-40B4-BE49-F238E27FC236}">
                        <a16:creationId xmlns:a16="http://schemas.microsoft.com/office/drawing/2014/main" id="{D1129D54-0A06-4A6E-BD76-1D7A56946D9B}"/>
                      </a:ext>
                    </a:extLst>
                  </p:cNvPr>
                  <p:cNvSpPr/>
                  <p:nvPr/>
                </p:nvSpPr>
                <p:spPr>
                  <a:xfrm>
                    <a:off x="11308288" y="22604"/>
                    <a:ext cx="309026" cy="1011355"/>
                  </a:xfrm>
                  <a:custGeom>
                    <a:avLst/>
                    <a:gdLst>
                      <a:gd name="connsiteX0" fmla="*/ 43518 w 309026"/>
                      <a:gd name="connsiteY0" fmla="*/ 483881 h 1011355"/>
                      <a:gd name="connsiteX1" fmla="*/ 233147 w 309026"/>
                      <a:gd name="connsiteY1" fmla="*/ 1011355 h 1011355"/>
                      <a:gd name="connsiteX2" fmla="*/ 291998 w 309026"/>
                      <a:gd name="connsiteY2" fmla="*/ 1004816 h 1011355"/>
                      <a:gd name="connsiteX3" fmla="*/ 283279 w 309026"/>
                      <a:gd name="connsiteY3" fmla="*/ 261557 h 1011355"/>
                      <a:gd name="connsiteX4" fmla="*/ 100189 w 309026"/>
                      <a:gd name="connsiteY4" fmla="*/ 0 h 1011355"/>
                      <a:gd name="connsiteX5" fmla="*/ 43518 w 309026"/>
                      <a:gd name="connsiteY5" fmla="*/ 483881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43518" y="483881"/>
                        </a:moveTo>
                        <a:cubicBezTo>
                          <a:pt x="143782" y="782493"/>
                          <a:pt x="200453" y="954684"/>
                          <a:pt x="233147" y="1011355"/>
                        </a:cubicBezTo>
                        <a:lnTo>
                          <a:pt x="291998" y="1004816"/>
                        </a:lnTo>
                        <a:cubicBezTo>
                          <a:pt x="291998" y="1004816"/>
                          <a:pt x="335591" y="418492"/>
                          <a:pt x="283279" y="261557"/>
                        </a:cubicBezTo>
                        <a:cubicBezTo>
                          <a:pt x="230968" y="104623"/>
                          <a:pt x="189554" y="6539"/>
                          <a:pt x="100189" y="0"/>
                        </a:cubicBezTo>
                        <a:cubicBezTo>
                          <a:pt x="54417" y="8719"/>
                          <a:pt x="-63284" y="122060"/>
                          <a:pt x="43518" y="48388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0" name="Freihandform: Form 186">
                    <a:extLst>
                      <a:ext uri="{FF2B5EF4-FFF2-40B4-BE49-F238E27FC236}">
                        <a16:creationId xmlns:a16="http://schemas.microsoft.com/office/drawing/2014/main" id="{FB8A4BF9-95D0-4C0D-A7BB-97BE7C845D2B}"/>
                      </a:ext>
                    </a:extLst>
                  </p:cNvPr>
                  <p:cNvSpPr/>
                  <p:nvPr/>
                </p:nvSpPr>
                <p:spPr>
                  <a:xfrm>
                    <a:off x="10900924" y="231760"/>
                    <a:ext cx="670938" cy="823422"/>
                  </a:xfrm>
                  <a:custGeom>
                    <a:avLst/>
                    <a:gdLst>
                      <a:gd name="connsiteX0" fmla="*/ 219752 w 670938"/>
                      <a:gd name="connsiteY0" fmla="*/ 457242 h 823422"/>
                      <a:gd name="connsiteX1" fmla="*/ 629525 w 670938"/>
                      <a:gd name="connsiteY1" fmla="*/ 823423 h 823422"/>
                      <a:gd name="connsiteX2" fmla="*/ 670939 w 670938"/>
                      <a:gd name="connsiteY2" fmla="*/ 788548 h 823422"/>
                      <a:gd name="connsiteX3" fmla="*/ 291680 w 670938"/>
                      <a:gd name="connsiteY3" fmla="*/ 149912 h 823422"/>
                      <a:gd name="connsiteX4" fmla="*/ 19225 w 670938"/>
                      <a:gd name="connsiteY4" fmla="*/ 10415 h 823422"/>
                      <a:gd name="connsiteX5" fmla="*/ 219752 w 670938"/>
                      <a:gd name="connsiteY5" fmla="*/ 457242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219752" y="457242"/>
                        </a:moveTo>
                        <a:cubicBezTo>
                          <a:pt x="446435" y="668668"/>
                          <a:pt x="577214" y="790728"/>
                          <a:pt x="629525" y="823423"/>
                        </a:cubicBezTo>
                        <a:lnTo>
                          <a:pt x="670939" y="788548"/>
                        </a:lnTo>
                        <a:cubicBezTo>
                          <a:pt x="670939" y="788548"/>
                          <a:pt x="409381" y="261074"/>
                          <a:pt x="291680" y="149912"/>
                        </a:cubicBezTo>
                        <a:cubicBezTo>
                          <a:pt x="171800" y="38750"/>
                          <a:pt x="93333" y="-26639"/>
                          <a:pt x="19225" y="10415"/>
                        </a:cubicBezTo>
                        <a:cubicBezTo>
                          <a:pt x="-9111" y="40930"/>
                          <a:pt x="-43985" y="195685"/>
                          <a:pt x="219752" y="457242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71" name="Grafik 5">
                    <a:extLst>
                      <a:ext uri="{FF2B5EF4-FFF2-40B4-BE49-F238E27FC236}">
                        <a16:creationId xmlns:a16="http://schemas.microsoft.com/office/drawing/2014/main" id="{EB5D59D4-788A-48C3-8211-570A63E967BF}"/>
                      </a:ext>
                    </a:extLst>
                  </p:cNvPr>
                  <p:cNvGrpSpPr/>
                  <p:nvPr/>
                </p:nvGrpSpPr>
                <p:grpSpPr>
                  <a:xfrm>
                    <a:off x="10468669" y="91979"/>
                    <a:ext cx="2134946" cy="2159439"/>
                    <a:chOff x="10468669" y="91979"/>
                    <a:chExt cx="2134946" cy="2159439"/>
                  </a:xfrm>
                  <a:solidFill>
                    <a:srgbClr val="FFFFFF"/>
                  </a:solidFill>
                </p:grpSpPr>
                <p:sp>
                  <p:nvSpPr>
                    <p:cNvPr id="72" name="Freihandform: Form 188">
                      <a:extLst>
                        <a:ext uri="{FF2B5EF4-FFF2-40B4-BE49-F238E27FC236}">
                          <a16:creationId xmlns:a16="http://schemas.microsoft.com/office/drawing/2014/main" id="{12FABE64-CE90-4249-90A1-3A97C12F14D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8669" y="728333"/>
                      <a:ext cx="1020510" cy="415311"/>
                    </a:xfrm>
                    <a:custGeom>
                      <a:avLst/>
                      <a:gdLst>
                        <a:gd name="connsiteX0" fmla="*/ 1005253 w 1020510"/>
                        <a:gd name="connsiteY0" fmla="*/ 370222 h 370774"/>
                        <a:gd name="connsiteX1" fmla="*/ 1020511 w 1020510"/>
                        <a:gd name="connsiteY1" fmla="*/ 315731 h 370774"/>
                        <a:gd name="connsiteX2" fmla="*/ 314306 w 1020510"/>
                        <a:gd name="connsiteY2" fmla="*/ 12760 h 370774"/>
                        <a:gd name="connsiteX3" fmla="*/ 437 w 1020510"/>
                        <a:gd name="connsiteY3" fmla="*/ 65072 h 370774"/>
                        <a:gd name="connsiteX4" fmla="*/ 438546 w 1020510"/>
                        <a:gd name="connsiteY4" fmla="*/ 317911 h 370774"/>
                        <a:gd name="connsiteX5" fmla="*/ 1005253 w 1020510"/>
                        <a:gd name="connsiteY5" fmla="*/ 370222 h 3707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0774">
                          <a:moveTo>
                            <a:pt x="1005253" y="370222"/>
                          </a:moveTo>
                          <a:lnTo>
                            <a:pt x="1020511" y="315731"/>
                          </a:lnTo>
                          <a:cubicBezTo>
                            <a:pt x="1020511" y="315731"/>
                            <a:pt x="482138" y="32377"/>
                            <a:pt x="314306" y="12760"/>
                          </a:cubicBezTo>
                          <a:cubicBezTo>
                            <a:pt x="146473" y="-6856"/>
                            <a:pt x="39671" y="-13395"/>
                            <a:pt x="437" y="65072"/>
                          </a:cubicBezTo>
                          <a:cubicBezTo>
                            <a:pt x="-6102" y="108665"/>
                            <a:pt x="57108" y="261240"/>
                            <a:pt x="438546" y="317911"/>
                          </a:cubicBezTo>
                          <a:cubicBezTo>
                            <a:pt x="756774" y="352785"/>
                            <a:pt x="939864" y="374581"/>
                            <a:pt x="1005253" y="37022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3" name="Freihandform: Form 189">
                      <a:extLst>
                        <a:ext uri="{FF2B5EF4-FFF2-40B4-BE49-F238E27FC236}">
                          <a16:creationId xmlns:a16="http://schemas.microsoft.com/office/drawing/2014/main" id="{BF300DFE-EDB1-4659-BC29-C3014C17273F}"/>
                        </a:ext>
                      </a:extLst>
                    </p:cNvPr>
                    <p:cNvSpPr/>
                    <p:nvPr/>
                  </p:nvSpPr>
                  <p:spPr>
                    <a:xfrm rot="184551">
                      <a:off x="10473608" y="1098449"/>
                      <a:ext cx="1052768" cy="433246"/>
                    </a:xfrm>
                    <a:custGeom>
                      <a:avLst/>
                      <a:gdLst>
                        <a:gd name="connsiteX0" fmla="*/ 1052768 w 1052768"/>
                        <a:gd name="connsiteY0" fmla="*/ 84495 h 433246"/>
                        <a:gd name="connsiteX1" fmla="*/ 1046230 w 1052768"/>
                        <a:gd name="connsiteY1" fmla="*/ 6028 h 433246"/>
                        <a:gd name="connsiteX2" fmla="*/ 274635 w 1052768"/>
                        <a:gd name="connsiteY2" fmla="*/ 51800 h 433246"/>
                        <a:gd name="connsiteX3" fmla="*/ 0 w 1052768"/>
                        <a:gd name="connsiteY3" fmla="*/ 308998 h 433246"/>
                        <a:gd name="connsiteX4" fmla="*/ 503498 w 1052768"/>
                        <a:gd name="connsiteY4" fmla="*/ 363489 h 433246"/>
                        <a:gd name="connsiteX5" fmla="*/ 1052768 w 1052768"/>
                        <a:gd name="connsiteY5" fmla="*/ 84495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2768" h="433246">
                          <a:moveTo>
                            <a:pt x="1052768" y="84495"/>
                          </a:moveTo>
                          <a:lnTo>
                            <a:pt x="1046230" y="6028"/>
                          </a:lnTo>
                          <a:cubicBezTo>
                            <a:pt x="1046230" y="6028"/>
                            <a:pt x="438109" y="-24487"/>
                            <a:pt x="274635" y="51800"/>
                          </a:cubicBezTo>
                          <a:cubicBezTo>
                            <a:pt x="111162" y="130267"/>
                            <a:pt x="8719" y="186938"/>
                            <a:pt x="0" y="308998"/>
                          </a:cubicBezTo>
                          <a:cubicBezTo>
                            <a:pt x="10898" y="367849"/>
                            <a:pt x="126419" y="522603"/>
                            <a:pt x="503498" y="363489"/>
                          </a:cubicBezTo>
                          <a:cubicBezTo>
                            <a:pt x="815187" y="215274"/>
                            <a:pt x="993918" y="130267"/>
                            <a:pt x="1052768" y="84495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4" name="Freihandform: Form 190">
                      <a:extLst>
                        <a:ext uri="{FF2B5EF4-FFF2-40B4-BE49-F238E27FC236}">
                          <a16:creationId xmlns:a16="http://schemas.microsoft.com/office/drawing/2014/main" id="{54CD7C24-96D7-42E5-925E-CEEB44B7D0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9290" y="383058"/>
                      <a:ext cx="800989" cy="693531"/>
                    </a:xfrm>
                    <a:custGeom>
                      <a:avLst/>
                      <a:gdLst>
                        <a:gd name="connsiteX0" fmla="*/ 800989 w 800989"/>
                        <a:gd name="connsiteY0" fmla="*/ 649939 h 693531"/>
                        <a:gd name="connsiteX1" fmla="*/ 312749 w 800989"/>
                        <a:gd name="connsiteY1" fmla="*/ 100668 h 693531"/>
                        <a:gd name="connsiteX2" fmla="*/ 11958 w 800989"/>
                        <a:gd name="connsiteY2" fmla="*/ 22201 h 693531"/>
                        <a:gd name="connsiteX3" fmla="*/ 286593 w 800989"/>
                        <a:gd name="connsiteY3" fmla="*/ 421076 h 693531"/>
                        <a:gd name="connsiteX4" fmla="*/ 763935 w 800989"/>
                        <a:gd name="connsiteY4" fmla="*/ 693532 h 693531"/>
                        <a:gd name="connsiteX5" fmla="*/ 800989 w 800989"/>
                        <a:gd name="connsiteY5" fmla="*/ 649939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800989" y="649939"/>
                          </a:moveTo>
                          <a:cubicBezTo>
                            <a:pt x="800989" y="649939"/>
                            <a:pt x="452246" y="185674"/>
                            <a:pt x="312749" y="100668"/>
                          </a:cubicBezTo>
                          <a:cubicBezTo>
                            <a:pt x="173252" y="15662"/>
                            <a:pt x="81706" y="-30111"/>
                            <a:pt x="11958" y="22201"/>
                          </a:cubicBezTo>
                          <a:cubicBezTo>
                            <a:pt x="-14198" y="59255"/>
                            <a:pt x="-25096" y="218369"/>
                            <a:pt x="286593" y="421076"/>
                          </a:cubicBezTo>
                          <a:cubicBezTo>
                            <a:pt x="552510" y="580190"/>
                            <a:pt x="705085" y="673915"/>
                            <a:pt x="763935" y="693532"/>
                          </a:cubicBezTo>
                          <a:lnTo>
                            <a:pt x="800989" y="64993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5" name="Freihandform: Form 191">
                      <a:extLst>
                        <a:ext uri="{FF2B5EF4-FFF2-40B4-BE49-F238E27FC236}">
                          <a16:creationId xmlns:a16="http://schemas.microsoft.com/office/drawing/2014/main" id="{DD4768E7-8059-4C27-BE21-677115EDA6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0345" y="91979"/>
                      <a:ext cx="304507" cy="974301"/>
                    </a:xfrm>
                    <a:custGeom>
                      <a:avLst/>
                      <a:gdLst>
                        <a:gd name="connsiteX0" fmla="*/ 132060 w 274679"/>
                        <a:gd name="connsiteY0" fmla="*/ 974301 h 974301"/>
                        <a:gd name="connsiteX1" fmla="*/ 188730 w 274679"/>
                        <a:gd name="connsiteY1" fmla="*/ 974301 h 974301"/>
                        <a:gd name="connsiteX2" fmla="*/ 269377 w 274679"/>
                        <a:gd name="connsiteY2" fmla="*/ 270276 h 974301"/>
                        <a:gd name="connsiteX3" fmla="*/ 127700 w 274679"/>
                        <a:gd name="connsiteY3" fmla="*/ 0 h 974301"/>
                        <a:gd name="connsiteX4" fmla="*/ 14359 w 274679"/>
                        <a:gd name="connsiteY4" fmla="*/ 451186 h 974301"/>
                        <a:gd name="connsiteX5" fmla="*/ 132060 w 274679"/>
                        <a:gd name="connsiteY5" fmla="*/ 974301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32060" y="974301"/>
                          </a:moveTo>
                          <a:lnTo>
                            <a:pt x="188730" y="974301"/>
                          </a:lnTo>
                          <a:cubicBezTo>
                            <a:pt x="188730" y="974301"/>
                            <a:pt x="299892" y="425031"/>
                            <a:pt x="269377" y="270276"/>
                          </a:cubicBezTo>
                          <a:cubicBezTo>
                            <a:pt x="238862" y="115521"/>
                            <a:pt x="212707" y="17437"/>
                            <a:pt x="127700" y="0"/>
                          </a:cubicBezTo>
                          <a:cubicBezTo>
                            <a:pt x="84107" y="4359"/>
                            <a:pt x="-42312" y="95904"/>
                            <a:pt x="14359" y="451186"/>
                          </a:cubicBezTo>
                          <a:cubicBezTo>
                            <a:pt x="75389" y="749798"/>
                            <a:pt x="108084" y="917631"/>
                            <a:pt x="132060" y="974301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6" name="Freihandform: Form 192">
                      <a:extLst>
                        <a:ext uri="{FF2B5EF4-FFF2-40B4-BE49-F238E27FC236}">
                          <a16:creationId xmlns:a16="http://schemas.microsoft.com/office/drawing/2014/main" id="{F54DF6F8-8C4F-410B-A3D7-E73C7459B65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71041" y="186511"/>
                      <a:ext cx="462825" cy="908535"/>
                    </a:xfrm>
                    <a:custGeom>
                      <a:avLst/>
                      <a:gdLst>
                        <a:gd name="connsiteX0" fmla="*/ 410514 w 462825"/>
                        <a:gd name="connsiteY0" fmla="*/ 908536 h 908535"/>
                        <a:gd name="connsiteX1" fmla="*/ 462826 w 462825"/>
                        <a:gd name="connsiteY1" fmla="*/ 888919 h 908535"/>
                        <a:gd name="connsiteX2" fmla="*/ 281915 w 462825"/>
                        <a:gd name="connsiteY2" fmla="*/ 202331 h 908535"/>
                        <a:gd name="connsiteX3" fmla="*/ 53052 w 462825"/>
                        <a:gd name="connsiteY3" fmla="*/ 1803 h 908535"/>
                        <a:gd name="connsiteX4" fmla="*/ 114082 w 462825"/>
                        <a:gd name="connsiteY4" fmla="*/ 463888 h 908535"/>
                        <a:gd name="connsiteX5" fmla="*/ 410514 w 462825"/>
                        <a:gd name="connsiteY5" fmla="*/ 908536 h 9085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8535">
                          <a:moveTo>
                            <a:pt x="410514" y="908536"/>
                          </a:moveTo>
                          <a:lnTo>
                            <a:pt x="462826" y="888919"/>
                          </a:lnTo>
                          <a:cubicBezTo>
                            <a:pt x="462826" y="888919"/>
                            <a:pt x="366921" y="335289"/>
                            <a:pt x="281915" y="202331"/>
                          </a:cubicBezTo>
                          <a:cubicBezTo>
                            <a:pt x="196909" y="69372"/>
                            <a:pt x="138059" y="-13454"/>
                            <a:pt x="53052" y="1803"/>
                          </a:cubicBezTo>
                          <a:cubicBezTo>
                            <a:pt x="13819" y="21420"/>
                            <a:pt x="-69008" y="154378"/>
                            <a:pt x="114082" y="463888"/>
                          </a:cubicBezTo>
                          <a:cubicBezTo>
                            <a:pt x="275376" y="718906"/>
                            <a:pt x="366921" y="864943"/>
                            <a:pt x="410514" y="90853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7" name="Freihandform: Form 193">
                      <a:extLst>
                        <a:ext uri="{FF2B5EF4-FFF2-40B4-BE49-F238E27FC236}">
                          <a16:creationId xmlns:a16="http://schemas.microsoft.com/office/drawing/2014/main" id="{13D28E75-67B9-4230-B47D-1015C745867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2098" y="467391"/>
                      <a:ext cx="784672" cy="662868"/>
                    </a:xfrm>
                    <a:custGeom>
                      <a:avLst/>
                      <a:gdLst>
                        <a:gd name="connsiteX0" fmla="*/ 344384 w 784672"/>
                        <a:gd name="connsiteY0" fmla="*/ 209502 h 662868"/>
                        <a:gd name="connsiteX1" fmla="*/ 0 w 784672"/>
                        <a:gd name="connsiteY1" fmla="*/ 617096 h 662868"/>
                        <a:gd name="connsiteX2" fmla="*/ 34874 w 784672"/>
                        <a:gd name="connsiteY2" fmla="*/ 662868 h 662868"/>
                        <a:gd name="connsiteX3" fmla="*/ 645175 w 784672"/>
                        <a:gd name="connsiteY3" fmla="*/ 301047 h 662868"/>
                        <a:gd name="connsiteX4" fmla="*/ 773774 w 784672"/>
                        <a:gd name="connsiteY4" fmla="*/ 26412 h 662868"/>
                        <a:gd name="connsiteX5" fmla="*/ 344384 w 784672"/>
                        <a:gd name="connsiteY5" fmla="*/ 209502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344384" y="209502"/>
                          </a:moveTo>
                          <a:cubicBezTo>
                            <a:pt x="146036" y="436185"/>
                            <a:pt x="30515" y="564784"/>
                            <a:pt x="0" y="617096"/>
                          </a:cubicBezTo>
                          <a:lnTo>
                            <a:pt x="34874" y="662868"/>
                          </a:lnTo>
                          <a:cubicBezTo>
                            <a:pt x="34874" y="662868"/>
                            <a:pt x="540552" y="418748"/>
                            <a:pt x="645175" y="301047"/>
                          </a:cubicBezTo>
                          <a:cubicBezTo>
                            <a:pt x="749798" y="183346"/>
                            <a:pt x="810828" y="102699"/>
                            <a:pt x="773774" y="26412"/>
                          </a:cubicBezTo>
                          <a:cubicBezTo>
                            <a:pt x="741079" y="-8463"/>
                            <a:pt x="590684" y="-52055"/>
                            <a:pt x="344384" y="20950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8" name="Freihandform: Form 194">
                      <a:extLst>
                        <a:ext uri="{FF2B5EF4-FFF2-40B4-BE49-F238E27FC236}">
                          <a16:creationId xmlns:a16="http://schemas.microsoft.com/office/drawing/2014/main" id="{DD3EC4B1-3F24-4BCC-B941-168A97F5897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1862" y="211652"/>
                      <a:ext cx="424485" cy="912068"/>
                    </a:xfrm>
                    <a:custGeom>
                      <a:avLst/>
                      <a:gdLst>
                        <a:gd name="connsiteX0" fmla="*/ 106803 w 424485"/>
                        <a:gd name="connsiteY0" fmla="*/ 380235 h 912068"/>
                        <a:gd name="connsiteX1" fmla="*/ 0 w 424485"/>
                        <a:gd name="connsiteY1" fmla="*/ 894631 h 912068"/>
                        <a:gd name="connsiteX2" fmla="*/ 47952 w 424485"/>
                        <a:gd name="connsiteY2" fmla="*/ 912069 h 912068"/>
                        <a:gd name="connsiteX3" fmla="*/ 394516 w 424485"/>
                        <a:gd name="connsiteY3" fmla="*/ 293049 h 912068"/>
                        <a:gd name="connsiteX4" fmla="*/ 379258 w 424485"/>
                        <a:gd name="connsiteY4" fmla="*/ 977 h 912068"/>
                        <a:gd name="connsiteX5" fmla="*/ 106803 w 424485"/>
                        <a:gd name="connsiteY5" fmla="*/ 380235 h 9120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68">
                          <a:moveTo>
                            <a:pt x="106803" y="380235"/>
                          </a:moveTo>
                          <a:cubicBezTo>
                            <a:pt x="41413" y="670128"/>
                            <a:pt x="2180" y="835781"/>
                            <a:pt x="0" y="894631"/>
                          </a:cubicBezTo>
                          <a:lnTo>
                            <a:pt x="47952" y="912069"/>
                          </a:lnTo>
                          <a:cubicBezTo>
                            <a:pt x="47952" y="912069"/>
                            <a:pt x="359641" y="445625"/>
                            <a:pt x="394516" y="293049"/>
                          </a:cubicBezTo>
                          <a:cubicBezTo>
                            <a:pt x="429390" y="142654"/>
                            <a:pt x="444647" y="44570"/>
                            <a:pt x="379258" y="977"/>
                          </a:cubicBezTo>
                          <a:cubicBezTo>
                            <a:pt x="342204" y="-7742"/>
                            <a:pt x="198348" y="35851"/>
                            <a:pt x="106803" y="380235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79" name="Freihandform: Form 195">
                      <a:extLst>
                        <a:ext uri="{FF2B5EF4-FFF2-40B4-BE49-F238E27FC236}">
                          <a16:creationId xmlns:a16="http://schemas.microsoft.com/office/drawing/2014/main" id="{920A2C19-802C-485D-AA62-3E1C96B573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83105" y="1175700"/>
                      <a:ext cx="1020510" cy="371374"/>
                    </a:xfrm>
                    <a:custGeom>
                      <a:avLst/>
                      <a:gdLst>
                        <a:gd name="connsiteX0" fmla="*/ 15258 w 1020510"/>
                        <a:gd name="connsiteY0" fmla="*/ 1153 h 371374"/>
                        <a:gd name="connsiteX1" fmla="*/ 0 w 1020510"/>
                        <a:gd name="connsiteY1" fmla="*/ 55644 h 371374"/>
                        <a:gd name="connsiteX2" fmla="*/ 706205 w 1020510"/>
                        <a:gd name="connsiteY2" fmla="*/ 358615 h 371374"/>
                        <a:gd name="connsiteX3" fmla="*/ 1020074 w 1020510"/>
                        <a:gd name="connsiteY3" fmla="*/ 306303 h 371374"/>
                        <a:gd name="connsiteX4" fmla="*/ 581965 w 1020510"/>
                        <a:gd name="connsiteY4" fmla="*/ 53464 h 371374"/>
                        <a:gd name="connsiteX5" fmla="*/ 15258 w 1020510"/>
                        <a:gd name="connsiteY5" fmla="*/ 1153 h 3713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1374">
                          <a:moveTo>
                            <a:pt x="15258" y="1153"/>
                          </a:moveTo>
                          <a:lnTo>
                            <a:pt x="0" y="55644"/>
                          </a:lnTo>
                          <a:cubicBezTo>
                            <a:pt x="0" y="55644"/>
                            <a:pt x="538372" y="338998"/>
                            <a:pt x="706205" y="358615"/>
                          </a:cubicBezTo>
                          <a:cubicBezTo>
                            <a:pt x="874038" y="378231"/>
                            <a:pt x="980840" y="384770"/>
                            <a:pt x="1020074" y="306303"/>
                          </a:cubicBezTo>
                          <a:cubicBezTo>
                            <a:pt x="1026613" y="262710"/>
                            <a:pt x="963403" y="110135"/>
                            <a:pt x="581965" y="53464"/>
                          </a:cubicBezTo>
                          <a:cubicBezTo>
                            <a:pt x="263737" y="16410"/>
                            <a:pt x="80647" y="-5386"/>
                            <a:pt x="15258" y="115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0" name="Freihandform: Form 196">
                      <a:extLst>
                        <a:ext uri="{FF2B5EF4-FFF2-40B4-BE49-F238E27FC236}">
                          <a16:creationId xmlns:a16="http://schemas.microsoft.com/office/drawing/2014/main" id="{87C32F63-B097-4A07-B9AF-C8F2D847CF03}"/>
                        </a:ext>
                      </a:extLst>
                    </p:cNvPr>
                    <p:cNvSpPr/>
                    <p:nvPr/>
                  </p:nvSpPr>
                  <p:spPr>
                    <a:xfrm rot="173298">
                      <a:off x="11535888" y="876439"/>
                      <a:ext cx="1050588" cy="331192"/>
                    </a:xfrm>
                    <a:custGeom>
                      <a:avLst/>
                      <a:gdLst>
                        <a:gd name="connsiteX0" fmla="*/ 0 w 1050588"/>
                        <a:gd name="connsiteY0" fmla="*/ 348751 h 433246"/>
                        <a:gd name="connsiteX1" fmla="*/ 6539 w 1050588"/>
                        <a:gd name="connsiteY1" fmla="*/ 427218 h 433246"/>
                        <a:gd name="connsiteX2" fmla="*/ 778133 w 1050588"/>
                        <a:gd name="connsiteY2" fmla="*/ 381446 h 433246"/>
                        <a:gd name="connsiteX3" fmla="*/ 1050589 w 1050588"/>
                        <a:gd name="connsiteY3" fmla="*/ 124248 h 433246"/>
                        <a:gd name="connsiteX4" fmla="*/ 547091 w 1050588"/>
                        <a:gd name="connsiteY4" fmla="*/ 69757 h 433246"/>
                        <a:gd name="connsiteX5" fmla="*/ 0 w 1050588"/>
                        <a:gd name="connsiteY5" fmla="*/ 348751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0588" h="433246">
                          <a:moveTo>
                            <a:pt x="0" y="348751"/>
                          </a:moveTo>
                          <a:lnTo>
                            <a:pt x="6539" y="427218"/>
                          </a:lnTo>
                          <a:cubicBezTo>
                            <a:pt x="6539" y="427218"/>
                            <a:pt x="614660" y="457733"/>
                            <a:pt x="778133" y="381446"/>
                          </a:cubicBezTo>
                          <a:cubicBezTo>
                            <a:pt x="941607" y="302979"/>
                            <a:pt x="1044050" y="246308"/>
                            <a:pt x="1050589" y="124248"/>
                          </a:cubicBezTo>
                          <a:cubicBezTo>
                            <a:pt x="1039691" y="65397"/>
                            <a:pt x="924169" y="-89357"/>
                            <a:pt x="547091" y="69757"/>
                          </a:cubicBezTo>
                          <a:cubicBezTo>
                            <a:pt x="235402" y="217972"/>
                            <a:pt x="56671" y="300799"/>
                            <a:pt x="0" y="3487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1" name="Freihandform: Form 197">
                      <a:extLst>
                        <a:ext uri="{FF2B5EF4-FFF2-40B4-BE49-F238E27FC236}">
                          <a16:creationId xmlns:a16="http://schemas.microsoft.com/office/drawing/2014/main" id="{132FD36F-0079-4A06-9A4A-E7B3C6D704A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56950" y="1233524"/>
                      <a:ext cx="800989" cy="693531"/>
                    </a:xfrm>
                    <a:custGeom>
                      <a:avLst/>
                      <a:gdLst>
                        <a:gd name="connsiteX0" fmla="*/ 0 w 800989"/>
                        <a:gd name="connsiteY0" fmla="*/ 43593 h 693531"/>
                        <a:gd name="connsiteX1" fmla="*/ 488240 w 800989"/>
                        <a:gd name="connsiteY1" fmla="*/ 592863 h 693531"/>
                        <a:gd name="connsiteX2" fmla="*/ 789032 w 800989"/>
                        <a:gd name="connsiteY2" fmla="*/ 671331 h 693531"/>
                        <a:gd name="connsiteX3" fmla="*/ 514396 w 800989"/>
                        <a:gd name="connsiteY3" fmla="*/ 272456 h 693531"/>
                        <a:gd name="connsiteX4" fmla="*/ 37054 w 800989"/>
                        <a:gd name="connsiteY4" fmla="*/ 0 h 693531"/>
                        <a:gd name="connsiteX5" fmla="*/ 0 w 800989"/>
                        <a:gd name="connsiteY5" fmla="*/ 43593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0" y="43593"/>
                          </a:moveTo>
                          <a:cubicBezTo>
                            <a:pt x="0" y="43593"/>
                            <a:pt x="348743" y="507857"/>
                            <a:pt x="488240" y="592863"/>
                          </a:cubicBezTo>
                          <a:cubicBezTo>
                            <a:pt x="627738" y="677870"/>
                            <a:pt x="719283" y="723642"/>
                            <a:pt x="789032" y="671331"/>
                          </a:cubicBezTo>
                          <a:cubicBezTo>
                            <a:pt x="815187" y="634277"/>
                            <a:pt x="826085" y="475163"/>
                            <a:pt x="514396" y="272456"/>
                          </a:cubicBezTo>
                          <a:cubicBezTo>
                            <a:pt x="248480" y="113342"/>
                            <a:pt x="95904" y="21796"/>
                            <a:pt x="37054" y="0"/>
                          </a:cubicBezTo>
                          <a:lnTo>
                            <a:pt x="0" y="4359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2" name="Freihandform: Form 198">
                      <a:extLst>
                        <a:ext uri="{FF2B5EF4-FFF2-40B4-BE49-F238E27FC236}">
                          <a16:creationId xmlns:a16="http://schemas.microsoft.com/office/drawing/2014/main" id="{62FCEABD-EE7C-4352-854D-0886BC63B9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5096" y="1277117"/>
                      <a:ext cx="274679" cy="974301"/>
                    </a:xfrm>
                    <a:custGeom>
                      <a:avLst/>
                      <a:gdLst>
                        <a:gd name="connsiteX0" fmla="*/ 142620 w 274679"/>
                        <a:gd name="connsiteY0" fmla="*/ 0 h 974301"/>
                        <a:gd name="connsiteX1" fmla="*/ 85949 w 274679"/>
                        <a:gd name="connsiteY1" fmla="*/ 0 h 974301"/>
                        <a:gd name="connsiteX2" fmla="*/ 5302 w 274679"/>
                        <a:gd name="connsiteY2" fmla="*/ 704025 h 974301"/>
                        <a:gd name="connsiteX3" fmla="*/ 146979 w 274679"/>
                        <a:gd name="connsiteY3" fmla="*/ 974301 h 974301"/>
                        <a:gd name="connsiteX4" fmla="*/ 260321 w 274679"/>
                        <a:gd name="connsiteY4" fmla="*/ 523115 h 974301"/>
                        <a:gd name="connsiteX5" fmla="*/ 142620 w 274679"/>
                        <a:gd name="connsiteY5" fmla="*/ 0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42620" y="0"/>
                          </a:moveTo>
                          <a:lnTo>
                            <a:pt x="85949" y="0"/>
                          </a:lnTo>
                          <a:cubicBezTo>
                            <a:pt x="85949" y="0"/>
                            <a:pt x="-25213" y="549270"/>
                            <a:pt x="5302" y="704025"/>
                          </a:cubicBezTo>
                          <a:cubicBezTo>
                            <a:pt x="35817" y="858780"/>
                            <a:pt x="61973" y="956864"/>
                            <a:pt x="146979" y="974301"/>
                          </a:cubicBezTo>
                          <a:cubicBezTo>
                            <a:pt x="190572" y="969942"/>
                            <a:pt x="316991" y="878397"/>
                            <a:pt x="260321" y="523115"/>
                          </a:cubicBezTo>
                          <a:cubicBezTo>
                            <a:pt x="201470" y="226683"/>
                            <a:pt x="166596" y="56671"/>
                            <a:pt x="142620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3" name="Freihandform: Form 199">
                      <a:extLst>
                        <a:ext uri="{FF2B5EF4-FFF2-40B4-BE49-F238E27FC236}">
                          <a16:creationId xmlns:a16="http://schemas.microsoft.com/office/drawing/2014/main" id="{83A2A145-ED73-4AD8-BE52-6F1245C2D1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22524" y="1256269"/>
                      <a:ext cx="462825" cy="906861"/>
                    </a:xfrm>
                    <a:custGeom>
                      <a:avLst/>
                      <a:gdLst>
                        <a:gd name="connsiteX0" fmla="*/ 52311 w 462825"/>
                        <a:gd name="connsiteY0" fmla="*/ 0 h 906861"/>
                        <a:gd name="connsiteX1" fmla="*/ 0 w 462825"/>
                        <a:gd name="connsiteY1" fmla="*/ 19617 h 906861"/>
                        <a:gd name="connsiteX2" fmla="*/ 180911 w 462825"/>
                        <a:gd name="connsiteY2" fmla="*/ 706205 h 906861"/>
                        <a:gd name="connsiteX3" fmla="*/ 409773 w 462825"/>
                        <a:gd name="connsiteY3" fmla="*/ 904553 h 906861"/>
                        <a:gd name="connsiteX4" fmla="*/ 348743 w 462825"/>
                        <a:gd name="connsiteY4" fmla="*/ 442468 h 906861"/>
                        <a:gd name="connsiteX5" fmla="*/ 52311 w 462825"/>
                        <a:gd name="connsiteY5" fmla="*/ 0 h 90686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6861">
                          <a:moveTo>
                            <a:pt x="52311" y="0"/>
                          </a:moveTo>
                          <a:lnTo>
                            <a:pt x="0" y="19617"/>
                          </a:lnTo>
                          <a:cubicBezTo>
                            <a:pt x="0" y="19617"/>
                            <a:pt x="95904" y="573247"/>
                            <a:pt x="180911" y="706205"/>
                          </a:cubicBezTo>
                          <a:cubicBezTo>
                            <a:pt x="265917" y="839163"/>
                            <a:pt x="326947" y="921990"/>
                            <a:pt x="409773" y="904553"/>
                          </a:cubicBezTo>
                          <a:cubicBezTo>
                            <a:pt x="449007" y="884936"/>
                            <a:pt x="531833" y="751978"/>
                            <a:pt x="348743" y="442468"/>
                          </a:cubicBezTo>
                          <a:cubicBezTo>
                            <a:pt x="189629" y="189629"/>
                            <a:pt x="95904" y="43593"/>
                            <a:pt x="52311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4" name="Freihandform: Form 200">
                      <a:extLst>
                        <a:ext uri="{FF2B5EF4-FFF2-40B4-BE49-F238E27FC236}">
                          <a16:creationId xmlns:a16="http://schemas.microsoft.com/office/drawing/2014/main" id="{605FE578-2136-45E8-ACBD-38874AE5520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50217" y="1226985"/>
                      <a:ext cx="784672" cy="662868"/>
                    </a:xfrm>
                    <a:custGeom>
                      <a:avLst/>
                      <a:gdLst>
                        <a:gd name="connsiteX0" fmla="*/ 440288 w 784672"/>
                        <a:gd name="connsiteY0" fmla="*/ 453366 h 662868"/>
                        <a:gd name="connsiteX1" fmla="*/ 784672 w 784672"/>
                        <a:gd name="connsiteY1" fmla="*/ 45773 h 662868"/>
                        <a:gd name="connsiteX2" fmla="*/ 749798 w 784672"/>
                        <a:gd name="connsiteY2" fmla="*/ 0 h 662868"/>
                        <a:gd name="connsiteX3" fmla="*/ 139497 w 784672"/>
                        <a:gd name="connsiteY3" fmla="*/ 361821 h 662868"/>
                        <a:gd name="connsiteX4" fmla="*/ 10898 w 784672"/>
                        <a:gd name="connsiteY4" fmla="*/ 636456 h 662868"/>
                        <a:gd name="connsiteX5" fmla="*/ 440288 w 784672"/>
                        <a:gd name="connsiteY5" fmla="*/ 453366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440288" y="453366"/>
                          </a:moveTo>
                          <a:cubicBezTo>
                            <a:pt x="638636" y="228863"/>
                            <a:pt x="754157" y="100264"/>
                            <a:pt x="784672" y="45773"/>
                          </a:cubicBezTo>
                          <a:lnTo>
                            <a:pt x="749798" y="0"/>
                          </a:lnTo>
                          <a:cubicBezTo>
                            <a:pt x="749798" y="0"/>
                            <a:pt x="244120" y="244120"/>
                            <a:pt x="139497" y="361821"/>
                          </a:cubicBezTo>
                          <a:cubicBezTo>
                            <a:pt x="34874" y="479522"/>
                            <a:pt x="-26156" y="560169"/>
                            <a:pt x="10898" y="636456"/>
                          </a:cubicBezTo>
                          <a:cubicBezTo>
                            <a:pt x="41413" y="671331"/>
                            <a:pt x="191809" y="714924"/>
                            <a:pt x="440288" y="45336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85" name="Freihandform: Form 201">
                      <a:extLst>
                        <a:ext uri="{FF2B5EF4-FFF2-40B4-BE49-F238E27FC236}">
                          <a16:creationId xmlns:a16="http://schemas.microsoft.com/office/drawing/2014/main" id="{3FC875BB-C179-46BF-AAF0-96A92963C0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51817" y="1240063"/>
                      <a:ext cx="424485" cy="912038"/>
                    </a:xfrm>
                    <a:custGeom>
                      <a:avLst/>
                      <a:gdLst>
                        <a:gd name="connsiteX0" fmla="*/ 317683 w 424485"/>
                        <a:gd name="connsiteY0" fmla="*/ 531833 h 912038"/>
                        <a:gd name="connsiteX1" fmla="*/ 424486 w 424485"/>
                        <a:gd name="connsiteY1" fmla="*/ 17437 h 912038"/>
                        <a:gd name="connsiteX2" fmla="*/ 376534 w 424485"/>
                        <a:gd name="connsiteY2" fmla="*/ 0 h 912038"/>
                        <a:gd name="connsiteX3" fmla="*/ 29970 w 424485"/>
                        <a:gd name="connsiteY3" fmla="*/ 619019 h 912038"/>
                        <a:gd name="connsiteX4" fmla="*/ 45228 w 424485"/>
                        <a:gd name="connsiteY4" fmla="*/ 911092 h 912038"/>
                        <a:gd name="connsiteX5" fmla="*/ 317683 w 424485"/>
                        <a:gd name="connsiteY5" fmla="*/ 531833 h 9120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38">
                          <a:moveTo>
                            <a:pt x="317683" y="531833"/>
                          </a:moveTo>
                          <a:cubicBezTo>
                            <a:pt x="383073" y="241941"/>
                            <a:pt x="422306" y="76288"/>
                            <a:pt x="424486" y="17437"/>
                          </a:cubicBezTo>
                          <a:lnTo>
                            <a:pt x="376534" y="0"/>
                          </a:lnTo>
                          <a:cubicBezTo>
                            <a:pt x="376534" y="0"/>
                            <a:pt x="64844" y="466444"/>
                            <a:pt x="29970" y="619019"/>
                          </a:cubicBezTo>
                          <a:cubicBezTo>
                            <a:pt x="-4904" y="769415"/>
                            <a:pt x="-20162" y="867499"/>
                            <a:pt x="45228" y="911092"/>
                          </a:cubicBezTo>
                          <a:cubicBezTo>
                            <a:pt x="82282" y="919810"/>
                            <a:pt x="226138" y="874038"/>
                            <a:pt x="317683" y="53183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56" name="Freihandform: Form 172">
                  <a:extLst>
                    <a:ext uri="{FF2B5EF4-FFF2-40B4-BE49-F238E27FC236}">
                      <a16:creationId xmlns:a16="http://schemas.microsoft.com/office/drawing/2014/main" id="{10D32005-EC8F-4863-84B4-FEBFFB7BFE7D}"/>
                    </a:ext>
                  </a:extLst>
                </p:cNvPr>
                <p:cNvSpPr/>
                <p:nvPr/>
              </p:nvSpPr>
              <p:spPr>
                <a:xfrm>
                  <a:off x="11282314" y="978505"/>
                  <a:ext cx="414132" cy="396695"/>
                </a:xfrm>
                <a:custGeom>
                  <a:avLst/>
                  <a:gdLst>
                    <a:gd name="connsiteX0" fmla="*/ 414133 w 414132"/>
                    <a:gd name="connsiteY0" fmla="*/ 198348 h 396695"/>
                    <a:gd name="connsiteX1" fmla="*/ 207066 w 414132"/>
                    <a:gd name="connsiteY1" fmla="*/ 396695 h 396695"/>
                    <a:gd name="connsiteX2" fmla="*/ 0 w 414132"/>
                    <a:gd name="connsiteY2" fmla="*/ 198348 h 396695"/>
                    <a:gd name="connsiteX3" fmla="*/ 207066 w 414132"/>
                    <a:gd name="connsiteY3" fmla="*/ 0 h 396695"/>
                    <a:gd name="connsiteX4" fmla="*/ 414133 w 414132"/>
                    <a:gd name="connsiteY4" fmla="*/ 198348 h 396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4132" h="396695">
                      <a:moveTo>
                        <a:pt x="414133" y="198348"/>
                      </a:moveTo>
                      <a:cubicBezTo>
                        <a:pt x="414133" y="307330"/>
                        <a:pt x="322587" y="396695"/>
                        <a:pt x="207066" y="396695"/>
                      </a:cubicBezTo>
                      <a:cubicBezTo>
                        <a:pt x="93725" y="396695"/>
                        <a:pt x="0" y="307330"/>
                        <a:pt x="0" y="198348"/>
                      </a:cubicBezTo>
                      <a:cubicBezTo>
                        <a:pt x="0" y="89365"/>
                        <a:pt x="91545" y="0"/>
                        <a:pt x="207066" y="0"/>
                      </a:cubicBezTo>
                      <a:cubicBezTo>
                        <a:pt x="320408" y="0"/>
                        <a:pt x="414133" y="89365"/>
                        <a:pt x="414133" y="198348"/>
                      </a:cubicBezTo>
                      <a:close/>
                    </a:path>
                  </a:pathLst>
                </a:custGeom>
                <a:solidFill>
                  <a:srgbClr val="FFBB00"/>
                </a:solidFill>
                <a:ln w="2177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4" name="Ellipse 170">
                <a:extLst>
                  <a:ext uri="{FF2B5EF4-FFF2-40B4-BE49-F238E27FC236}">
                    <a16:creationId xmlns:a16="http://schemas.microsoft.com/office/drawing/2014/main" id="{D72486BD-3912-46A4-86DB-08614A5D2C56}"/>
                  </a:ext>
                </a:extLst>
              </p:cNvPr>
              <p:cNvSpPr/>
              <p:nvPr/>
            </p:nvSpPr>
            <p:spPr bwMode="gray">
              <a:xfrm>
                <a:off x="11227609" y="960958"/>
                <a:ext cx="403666" cy="382238"/>
              </a:xfrm>
              <a:prstGeom prst="ellipse">
                <a:avLst/>
              </a:prstGeom>
              <a:solidFill>
                <a:srgbClr val="FFD066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0000"/>
                  </a:lnSpc>
                </a:pPr>
                <a:endParaRPr lang="de-DE" sz="1600">
                  <a:solidFill>
                    <a:srgbClr val="FFD066"/>
                  </a:solidFill>
                </a:endParaRPr>
              </a:p>
            </p:txBody>
          </p:sp>
        </p:grpSp>
        <p:grpSp>
          <p:nvGrpSpPr>
            <p:cNvPr id="13" name="Gruppieren 168">
              <a:extLst>
                <a:ext uri="{FF2B5EF4-FFF2-40B4-BE49-F238E27FC236}">
                  <a16:creationId xmlns:a16="http://schemas.microsoft.com/office/drawing/2014/main" id="{49FEF36E-D4C1-453A-89A3-09F892E5EA65}"/>
                </a:ext>
              </a:extLst>
            </p:cNvPr>
            <p:cNvGrpSpPr/>
            <p:nvPr/>
          </p:nvGrpSpPr>
          <p:grpSpPr>
            <a:xfrm>
              <a:off x="10943437" y="334624"/>
              <a:ext cx="702670" cy="712587"/>
              <a:chOff x="10366017" y="30973"/>
              <a:chExt cx="2246316" cy="2278019"/>
            </a:xfrm>
          </p:grpSpPr>
          <p:grpSp>
            <p:nvGrpSpPr>
              <p:cNvPr id="14" name="Grafik 5">
                <a:extLst>
                  <a:ext uri="{FF2B5EF4-FFF2-40B4-BE49-F238E27FC236}">
                    <a16:creationId xmlns:a16="http://schemas.microsoft.com/office/drawing/2014/main" id="{94196336-3D74-490E-BB94-01BF5A947506}"/>
                  </a:ext>
                </a:extLst>
              </p:cNvPr>
              <p:cNvGrpSpPr/>
              <p:nvPr/>
            </p:nvGrpSpPr>
            <p:grpSpPr>
              <a:xfrm>
                <a:off x="10366017" y="30973"/>
                <a:ext cx="2246316" cy="2278019"/>
                <a:chOff x="10396141" y="22604"/>
                <a:chExt cx="2246316" cy="2278019"/>
              </a:xfrm>
            </p:grpSpPr>
            <p:grpSp>
              <p:nvGrpSpPr>
                <p:cNvPr id="18" name="Grafik 5">
                  <a:extLst>
                    <a:ext uri="{FF2B5EF4-FFF2-40B4-BE49-F238E27FC236}">
                      <a16:creationId xmlns:a16="http://schemas.microsoft.com/office/drawing/2014/main" id="{2785D0C1-CDA2-4788-9DE4-35EE0A090704}"/>
                    </a:ext>
                  </a:extLst>
                </p:cNvPr>
                <p:cNvGrpSpPr/>
                <p:nvPr/>
              </p:nvGrpSpPr>
              <p:grpSpPr>
                <a:xfrm>
                  <a:off x="10396141" y="22604"/>
                  <a:ext cx="2246316" cy="2278019"/>
                  <a:chOff x="10396141" y="22604"/>
                  <a:chExt cx="2246316" cy="2278019"/>
                </a:xfrm>
              </p:grpSpPr>
              <p:sp>
                <p:nvSpPr>
                  <p:cNvPr id="20" name="Freihandform: Form 173">
                    <a:extLst>
                      <a:ext uri="{FF2B5EF4-FFF2-40B4-BE49-F238E27FC236}">
                        <a16:creationId xmlns:a16="http://schemas.microsoft.com/office/drawing/2014/main" id="{E0879FFA-8FD4-4852-9F08-86DFA2DAABB4}"/>
                      </a:ext>
                    </a:extLst>
                  </p:cNvPr>
                  <p:cNvSpPr/>
                  <p:nvPr/>
                </p:nvSpPr>
                <p:spPr>
                  <a:xfrm>
                    <a:off x="11561309" y="346257"/>
                    <a:ext cx="822081" cy="810979"/>
                  </a:xfrm>
                  <a:custGeom>
                    <a:avLst/>
                    <a:gdLst>
                      <a:gd name="connsiteX0" fmla="*/ 0 w 822081"/>
                      <a:gd name="connsiteY0" fmla="*/ 769566 h 810979"/>
                      <a:gd name="connsiteX1" fmla="*/ 41413 w 822081"/>
                      <a:gd name="connsiteY1" fmla="*/ 810980 h 810979"/>
                      <a:gd name="connsiteX2" fmla="*/ 686588 w 822081"/>
                      <a:gd name="connsiteY2" fmla="*/ 329278 h 810979"/>
                      <a:gd name="connsiteX3" fmla="*/ 804289 w 822081"/>
                      <a:gd name="connsiteY3" fmla="*/ 15409 h 810979"/>
                      <a:gd name="connsiteX4" fmla="*/ 344384 w 822081"/>
                      <a:gd name="connsiteY4" fmla="*/ 279146 h 810979"/>
                      <a:gd name="connsiteX5" fmla="*/ 0 w 822081"/>
                      <a:gd name="connsiteY5" fmla="*/ 769566 h 8109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10979">
                        <a:moveTo>
                          <a:pt x="0" y="769566"/>
                        </a:moveTo>
                        <a:lnTo>
                          <a:pt x="41413" y="810980"/>
                        </a:lnTo>
                        <a:cubicBezTo>
                          <a:pt x="41413" y="810980"/>
                          <a:pt x="579786" y="470955"/>
                          <a:pt x="686588" y="329278"/>
                        </a:cubicBezTo>
                        <a:cubicBezTo>
                          <a:pt x="793391" y="187601"/>
                          <a:pt x="854421" y="91697"/>
                          <a:pt x="804289" y="15409"/>
                        </a:cubicBezTo>
                        <a:cubicBezTo>
                          <a:pt x="767235" y="-12926"/>
                          <a:pt x="597223" y="-36902"/>
                          <a:pt x="344384" y="279146"/>
                        </a:cubicBezTo>
                        <a:cubicBezTo>
                          <a:pt x="143857" y="553782"/>
                          <a:pt x="28335" y="708536"/>
                          <a:pt x="0" y="769566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" name="Freihandform: Form 174">
                    <a:extLst>
                      <a:ext uri="{FF2B5EF4-FFF2-40B4-BE49-F238E27FC236}">
                        <a16:creationId xmlns:a16="http://schemas.microsoft.com/office/drawing/2014/main" id="{8656D6C2-0B60-4272-97DD-BFEF660E01B2}"/>
                      </a:ext>
                    </a:extLst>
                  </p:cNvPr>
                  <p:cNvSpPr/>
                  <p:nvPr/>
                </p:nvSpPr>
                <p:spPr>
                  <a:xfrm>
                    <a:off x="11584523" y="64140"/>
                    <a:ext cx="447589" cy="1112779"/>
                  </a:xfrm>
                  <a:custGeom>
                    <a:avLst/>
                    <a:gdLst>
                      <a:gd name="connsiteX0" fmla="*/ 4393 w 447589"/>
                      <a:gd name="connsiteY0" fmla="*/ 1077905 h 1112779"/>
                      <a:gd name="connsiteX1" fmla="*/ 78501 w 447589"/>
                      <a:gd name="connsiteY1" fmla="*/ 1112779 h 1112779"/>
                      <a:gd name="connsiteX2" fmla="*/ 440322 w 447589"/>
                      <a:gd name="connsiteY2" fmla="*/ 389137 h 1112779"/>
                      <a:gd name="connsiteX3" fmla="*/ 350957 w 447589"/>
                      <a:gd name="connsiteY3" fmla="*/ 5520 h 1112779"/>
                      <a:gd name="connsiteX4" fmla="*/ 39268 w 447589"/>
                      <a:gd name="connsiteY4" fmla="*/ 432730 h 1112779"/>
                      <a:gd name="connsiteX5" fmla="*/ 4393 w 447589"/>
                      <a:gd name="connsiteY5" fmla="*/ 1077905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7589" h="1112779">
                        <a:moveTo>
                          <a:pt x="4393" y="1077905"/>
                        </a:moveTo>
                        <a:lnTo>
                          <a:pt x="78501" y="1112779"/>
                        </a:lnTo>
                        <a:cubicBezTo>
                          <a:pt x="78501" y="1112779"/>
                          <a:pt x="425065" y="576587"/>
                          <a:pt x="440322" y="389137"/>
                        </a:cubicBezTo>
                        <a:cubicBezTo>
                          <a:pt x="455580" y="199508"/>
                          <a:pt x="455580" y="77448"/>
                          <a:pt x="350957" y="5520"/>
                        </a:cubicBezTo>
                        <a:cubicBezTo>
                          <a:pt x="292106" y="-16277"/>
                          <a:pt x="91579" y="7699"/>
                          <a:pt x="39268" y="432730"/>
                        </a:cubicBezTo>
                        <a:cubicBezTo>
                          <a:pt x="8752" y="794551"/>
                          <a:pt x="-8685" y="1001617"/>
                          <a:pt x="4393" y="1077905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" name="Freihandform: Form 175">
                    <a:extLst>
                      <a:ext uri="{FF2B5EF4-FFF2-40B4-BE49-F238E27FC236}">
                        <a16:creationId xmlns:a16="http://schemas.microsoft.com/office/drawing/2014/main" id="{79C649FF-5657-4F4D-9AFB-5F0E1303AD3F}"/>
                      </a:ext>
                    </a:extLst>
                  </p:cNvPr>
                  <p:cNvSpPr/>
                  <p:nvPr/>
                </p:nvSpPr>
                <p:spPr>
                  <a:xfrm>
                    <a:off x="11600346" y="686711"/>
                    <a:ext cx="1003874" cy="450498"/>
                  </a:xfrm>
                  <a:custGeom>
                    <a:avLst/>
                    <a:gdLst>
                      <a:gd name="connsiteX0" fmla="*/ 19617 w 1003874"/>
                      <a:gd name="connsiteY0" fmla="*/ 450498 h 450498"/>
                      <a:gd name="connsiteX1" fmla="*/ 773774 w 1003874"/>
                      <a:gd name="connsiteY1" fmla="*/ 293564 h 450498"/>
                      <a:gd name="connsiteX2" fmla="*/ 1002637 w 1003874"/>
                      <a:gd name="connsiteY2" fmla="*/ 62522 h 450498"/>
                      <a:gd name="connsiteX3" fmla="*/ 496959 w 1003874"/>
                      <a:gd name="connsiteY3" fmla="*/ 101755 h 450498"/>
                      <a:gd name="connsiteX4" fmla="*/ 0 w 1003874"/>
                      <a:gd name="connsiteY4" fmla="*/ 391648 h 450498"/>
                      <a:gd name="connsiteX5" fmla="*/ 19617 w 1003874"/>
                      <a:gd name="connsiteY5" fmla="*/ 450498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19617" y="450498"/>
                        </a:moveTo>
                        <a:cubicBezTo>
                          <a:pt x="19617" y="450498"/>
                          <a:pt x="623378" y="376390"/>
                          <a:pt x="773774" y="293564"/>
                        </a:cubicBezTo>
                        <a:cubicBezTo>
                          <a:pt x="924169" y="210737"/>
                          <a:pt x="1015714" y="151887"/>
                          <a:pt x="1002637" y="62522"/>
                        </a:cubicBezTo>
                        <a:cubicBezTo>
                          <a:pt x="983020" y="21108"/>
                          <a:pt x="843523" y="-72616"/>
                          <a:pt x="496959" y="101755"/>
                        </a:cubicBezTo>
                        <a:cubicBezTo>
                          <a:pt x="211426" y="258690"/>
                          <a:pt x="50132" y="350235"/>
                          <a:pt x="0" y="391648"/>
                        </a:cubicBezTo>
                        <a:lnTo>
                          <a:pt x="19617" y="450498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" name="Freihandform: Form 176">
                    <a:extLst>
                      <a:ext uri="{FF2B5EF4-FFF2-40B4-BE49-F238E27FC236}">
                        <a16:creationId xmlns:a16="http://schemas.microsoft.com/office/drawing/2014/main" id="{D5CC29A1-6941-4F88-8F8C-6C352DDC4433}"/>
                      </a:ext>
                    </a:extLst>
                  </p:cNvPr>
                  <p:cNvSpPr/>
                  <p:nvPr/>
                </p:nvSpPr>
                <p:spPr>
                  <a:xfrm>
                    <a:off x="11558883" y="1289985"/>
                    <a:ext cx="920658" cy="548241"/>
                  </a:xfrm>
                  <a:custGeom>
                    <a:avLst/>
                    <a:gdLst>
                      <a:gd name="connsiteX0" fmla="*/ 30515 w 920658"/>
                      <a:gd name="connsiteY0" fmla="*/ 0 h 548241"/>
                      <a:gd name="connsiteX1" fmla="*/ 0 w 920658"/>
                      <a:gd name="connsiteY1" fmla="*/ 52311 h 548241"/>
                      <a:gd name="connsiteX2" fmla="*/ 597223 w 920658"/>
                      <a:gd name="connsiteY2" fmla="*/ 494779 h 548241"/>
                      <a:gd name="connsiteX3" fmla="*/ 915451 w 920658"/>
                      <a:gd name="connsiteY3" fmla="*/ 507857 h 548241"/>
                      <a:gd name="connsiteX4" fmla="*/ 564528 w 920658"/>
                      <a:gd name="connsiteY4" fmla="*/ 167833 h 548241"/>
                      <a:gd name="connsiteX5" fmla="*/ 30515 w 920658"/>
                      <a:gd name="connsiteY5" fmla="*/ 0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30515" y="0"/>
                        </a:moveTo>
                        <a:lnTo>
                          <a:pt x="0" y="52311"/>
                        </a:lnTo>
                        <a:cubicBezTo>
                          <a:pt x="0" y="52311"/>
                          <a:pt x="440288" y="442468"/>
                          <a:pt x="597223" y="494779"/>
                        </a:cubicBezTo>
                        <a:cubicBezTo>
                          <a:pt x="754157" y="549270"/>
                          <a:pt x="856600" y="575426"/>
                          <a:pt x="915451" y="507857"/>
                        </a:cubicBezTo>
                        <a:cubicBezTo>
                          <a:pt x="935068" y="466444"/>
                          <a:pt x="915451" y="302971"/>
                          <a:pt x="564528" y="167833"/>
                        </a:cubicBezTo>
                        <a:cubicBezTo>
                          <a:pt x="265917" y="67569"/>
                          <a:pt x="93725" y="8719"/>
                          <a:pt x="30515" y="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6" name="Freihandform: Form 177">
                    <a:extLst>
                      <a:ext uri="{FF2B5EF4-FFF2-40B4-BE49-F238E27FC236}">
                        <a16:creationId xmlns:a16="http://schemas.microsoft.com/office/drawing/2014/main" id="{8A597600-9993-433F-98C5-1FB8020C1EC2}"/>
                      </a:ext>
                    </a:extLst>
                  </p:cNvPr>
                  <p:cNvSpPr/>
                  <p:nvPr/>
                </p:nvSpPr>
                <p:spPr>
                  <a:xfrm>
                    <a:off x="11624519" y="1130985"/>
                    <a:ext cx="1017938" cy="292322"/>
                  </a:xfrm>
                  <a:custGeom>
                    <a:avLst/>
                    <a:gdLst>
                      <a:gd name="connsiteX0" fmla="*/ 8719 w 1017938"/>
                      <a:gd name="connsiteY0" fmla="*/ 37150 h 292322"/>
                      <a:gd name="connsiteX1" fmla="*/ 0 w 1017938"/>
                      <a:gd name="connsiteY1" fmla="*/ 96000 h 292322"/>
                      <a:gd name="connsiteX2" fmla="*/ 717103 w 1017938"/>
                      <a:gd name="connsiteY2" fmla="*/ 292168 h 292322"/>
                      <a:gd name="connsiteX3" fmla="*/ 1017894 w 1017938"/>
                      <a:gd name="connsiteY3" fmla="*/ 187545 h 292322"/>
                      <a:gd name="connsiteX4" fmla="*/ 566708 w 1017938"/>
                      <a:gd name="connsiteY4" fmla="*/ 96 h 292322"/>
                      <a:gd name="connsiteX5" fmla="*/ 8719 w 1017938"/>
                      <a:gd name="connsiteY5" fmla="*/ 37150 h 2923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2322">
                        <a:moveTo>
                          <a:pt x="8719" y="37150"/>
                        </a:moveTo>
                        <a:lnTo>
                          <a:pt x="0" y="96000"/>
                        </a:lnTo>
                        <a:cubicBezTo>
                          <a:pt x="0" y="96000"/>
                          <a:pt x="551450" y="298707"/>
                          <a:pt x="717103" y="292168"/>
                        </a:cubicBezTo>
                        <a:cubicBezTo>
                          <a:pt x="882756" y="285629"/>
                          <a:pt x="987379" y="272551"/>
                          <a:pt x="1017894" y="187545"/>
                        </a:cubicBezTo>
                        <a:cubicBezTo>
                          <a:pt x="1020074" y="141772"/>
                          <a:pt x="943786" y="-4264"/>
                          <a:pt x="566708" y="96"/>
                        </a:cubicBezTo>
                        <a:cubicBezTo>
                          <a:pt x="252839" y="13173"/>
                          <a:pt x="71928" y="21892"/>
                          <a:pt x="8719" y="3715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7" name="Freihandform: Form 178">
                    <a:extLst>
                      <a:ext uri="{FF2B5EF4-FFF2-40B4-BE49-F238E27FC236}">
                        <a16:creationId xmlns:a16="http://schemas.microsoft.com/office/drawing/2014/main" id="{5210DC4B-5658-4799-B906-1B9253B15108}"/>
                      </a:ext>
                    </a:extLst>
                  </p:cNvPr>
                  <p:cNvSpPr/>
                  <p:nvPr/>
                </p:nvSpPr>
                <p:spPr>
                  <a:xfrm>
                    <a:off x="11600661" y="1229231"/>
                    <a:ext cx="309026" cy="1011355"/>
                  </a:xfrm>
                  <a:custGeom>
                    <a:avLst/>
                    <a:gdLst>
                      <a:gd name="connsiteX0" fmla="*/ 265508 w 309026"/>
                      <a:gd name="connsiteY0" fmla="*/ 527474 h 1011355"/>
                      <a:gd name="connsiteX1" fmla="*/ 75879 w 309026"/>
                      <a:gd name="connsiteY1" fmla="*/ 0 h 1011355"/>
                      <a:gd name="connsiteX2" fmla="*/ 17028 w 309026"/>
                      <a:gd name="connsiteY2" fmla="*/ 6539 h 1011355"/>
                      <a:gd name="connsiteX3" fmla="*/ 25747 w 309026"/>
                      <a:gd name="connsiteY3" fmla="*/ 749798 h 1011355"/>
                      <a:gd name="connsiteX4" fmla="*/ 208837 w 309026"/>
                      <a:gd name="connsiteY4" fmla="*/ 1011355 h 1011355"/>
                      <a:gd name="connsiteX5" fmla="*/ 265508 w 309026"/>
                      <a:gd name="connsiteY5" fmla="*/ 527474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265508" y="527474"/>
                        </a:moveTo>
                        <a:cubicBezTo>
                          <a:pt x="165244" y="228863"/>
                          <a:pt x="108574" y="56671"/>
                          <a:pt x="75879" y="0"/>
                        </a:cubicBezTo>
                        <a:lnTo>
                          <a:pt x="17028" y="6539"/>
                        </a:lnTo>
                        <a:cubicBezTo>
                          <a:pt x="17028" y="6539"/>
                          <a:pt x="-26564" y="592863"/>
                          <a:pt x="25747" y="749798"/>
                        </a:cubicBezTo>
                        <a:cubicBezTo>
                          <a:pt x="78059" y="906732"/>
                          <a:pt x="119472" y="1004816"/>
                          <a:pt x="208837" y="1011355"/>
                        </a:cubicBezTo>
                        <a:cubicBezTo>
                          <a:pt x="254610" y="1002637"/>
                          <a:pt x="372311" y="889295"/>
                          <a:pt x="265508" y="5274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0" name="Freihandform: Form 179">
                    <a:extLst>
                      <a:ext uri="{FF2B5EF4-FFF2-40B4-BE49-F238E27FC236}">
                        <a16:creationId xmlns:a16="http://schemas.microsoft.com/office/drawing/2014/main" id="{8CBB904B-7E56-4BA0-A272-CB69C521BB82}"/>
                      </a:ext>
                    </a:extLst>
                  </p:cNvPr>
                  <p:cNvSpPr/>
                  <p:nvPr/>
                </p:nvSpPr>
                <p:spPr>
                  <a:xfrm>
                    <a:off x="11580683" y="1207046"/>
                    <a:ext cx="670938" cy="823422"/>
                  </a:xfrm>
                  <a:custGeom>
                    <a:avLst/>
                    <a:gdLst>
                      <a:gd name="connsiteX0" fmla="*/ 451186 w 670938"/>
                      <a:gd name="connsiteY0" fmla="*/ 366180 h 823422"/>
                      <a:gd name="connsiteX1" fmla="*/ 41413 w 670938"/>
                      <a:gd name="connsiteY1" fmla="*/ 0 h 823422"/>
                      <a:gd name="connsiteX2" fmla="*/ 0 w 670938"/>
                      <a:gd name="connsiteY2" fmla="*/ 34874 h 823422"/>
                      <a:gd name="connsiteX3" fmla="*/ 379258 w 670938"/>
                      <a:gd name="connsiteY3" fmla="*/ 673510 h 823422"/>
                      <a:gd name="connsiteX4" fmla="*/ 651714 w 670938"/>
                      <a:gd name="connsiteY4" fmla="*/ 813008 h 823422"/>
                      <a:gd name="connsiteX5" fmla="*/ 451186 w 670938"/>
                      <a:gd name="connsiteY5" fmla="*/ 366180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451186" y="366180"/>
                        </a:moveTo>
                        <a:cubicBezTo>
                          <a:pt x="224503" y="154755"/>
                          <a:pt x="93725" y="32695"/>
                          <a:pt x="41413" y="0"/>
                        </a:cubicBezTo>
                        <a:lnTo>
                          <a:pt x="0" y="34874"/>
                        </a:lnTo>
                        <a:cubicBezTo>
                          <a:pt x="0" y="34874"/>
                          <a:pt x="261557" y="562348"/>
                          <a:pt x="379258" y="673510"/>
                        </a:cubicBezTo>
                        <a:cubicBezTo>
                          <a:pt x="499139" y="784672"/>
                          <a:pt x="577606" y="850061"/>
                          <a:pt x="651714" y="813008"/>
                        </a:cubicBezTo>
                        <a:cubicBezTo>
                          <a:pt x="680049" y="782492"/>
                          <a:pt x="714923" y="629917"/>
                          <a:pt x="451186" y="366180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" name="Freihandform: Form 180">
                    <a:extLst>
                      <a:ext uri="{FF2B5EF4-FFF2-40B4-BE49-F238E27FC236}">
                        <a16:creationId xmlns:a16="http://schemas.microsoft.com/office/drawing/2014/main" id="{3B7B6E8D-39E6-40BD-BC37-529D1BACF1CA}"/>
                      </a:ext>
                    </a:extLst>
                  </p:cNvPr>
                  <p:cNvSpPr/>
                  <p:nvPr/>
                </p:nvSpPr>
                <p:spPr>
                  <a:xfrm>
                    <a:off x="10684134" y="1200498"/>
                    <a:ext cx="822081" cy="808800"/>
                  </a:xfrm>
                  <a:custGeom>
                    <a:avLst/>
                    <a:gdLst>
                      <a:gd name="connsiteX0" fmla="*/ 822081 w 822081"/>
                      <a:gd name="connsiteY0" fmla="*/ 41413 h 808800"/>
                      <a:gd name="connsiteX1" fmla="*/ 780668 w 822081"/>
                      <a:gd name="connsiteY1" fmla="*/ 0 h 808800"/>
                      <a:gd name="connsiteX2" fmla="*/ 135493 w 822081"/>
                      <a:gd name="connsiteY2" fmla="*/ 481701 h 808800"/>
                      <a:gd name="connsiteX3" fmla="*/ 17792 w 822081"/>
                      <a:gd name="connsiteY3" fmla="*/ 793391 h 808800"/>
                      <a:gd name="connsiteX4" fmla="*/ 477697 w 822081"/>
                      <a:gd name="connsiteY4" fmla="*/ 529654 h 808800"/>
                      <a:gd name="connsiteX5" fmla="*/ 822081 w 822081"/>
                      <a:gd name="connsiteY5" fmla="*/ 41413 h 808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22081" h="808800">
                        <a:moveTo>
                          <a:pt x="822081" y="41413"/>
                        </a:moveTo>
                        <a:lnTo>
                          <a:pt x="780668" y="0"/>
                        </a:lnTo>
                        <a:cubicBezTo>
                          <a:pt x="780668" y="0"/>
                          <a:pt x="242296" y="340025"/>
                          <a:pt x="135493" y="481701"/>
                        </a:cubicBezTo>
                        <a:cubicBezTo>
                          <a:pt x="28691" y="623378"/>
                          <a:pt x="-32339" y="719283"/>
                          <a:pt x="17792" y="793391"/>
                        </a:cubicBezTo>
                        <a:cubicBezTo>
                          <a:pt x="54846" y="821726"/>
                          <a:pt x="224859" y="845702"/>
                          <a:pt x="477697" y="529654"/>
                        </a:cubicBezTo>
                        <a:cubicBezTo>
                          <a:pt x="676045" y="259378"/>
                          <a:pt x="791566" y="104623"/>
                          <a:pt x="822081" y="4141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" name="Freihandform: Form 181">
                    <a:extLst>
                      <a:ext uri="{FF2B5EF4-FFF2-40B4-BE49-F238E27FC236}">
                        <a16:creationId xmlns:a16="http://schemas.microsoft.com/office/drawing/2014/main" id="{6B7D7C75-46B5-4821-AD3D-84288E8317D8}"/>
                      </a:ext>
                    </a:extLst>
                  </p:cNvPr>
                  <p:cNvSpPr/>
                  <p:nvPr/>
                </p:nvSpPr>
                <p:spPr>
                  <a:xfrm>
                    <a:off x="11103490" y="1187844"/>
                    <a:ext cx="446476" cy="1112779"/>
                  </a:xfrm>
                  <a:custGeom>
                    <a:avLst/>
                    <a:gdLst>
                      <a:gd name="connsiteX0" fmla="*/ 443197 w 446476"/>
                      <a:gd name="connsiteY0" fmla="*/ 34874 h 1112779"/>
                      <a:gd name="connsiteX1" fmla="*/ 369089 w 446476"/>
                      <a:gd name="connsiteY1" fmla="*/ 0 h 1112779"/>
                      <a:gd name="connsiteX2" fmla="*/ 7268 w 446476"/>
                      <a:gd name="connsiteY2" fmla="*/ 723642 h 1112779"/>
                      <a:gd name="connsiteX3" fmla="*/ 96633 w 446476"/>
                      <a:gd name="connsiteY3" fmla="*/ 1107260 h 1112779"/>
                      <a:gd name="connsiteX4" fmla="*/ 408322 w 446476"/>
                      <a:gd name="connsiteY4" fmla="*/ 680049 h 1112779"/>
                      <a:gd name="connsiteX5" fmla="*/ 443197 w 446476"/>
                      <a:gd name="connsiteY5" fmla="*/ 34874 h 111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6476" h="1112779">
                        <a:moveTo>
                          <a:pt x="443197" y="34874"/>
                        </a:moveTo>
                        <a:lnTo>
                          <a:pt x="369089" y="0"/>
                        </a:lnTo>
                        <a:cubicBezTo>
                          <a:pt x="369089" y="0"/>
                          <a:pt x="22525" y="536193"/>
                          <a:pt x="7268" y="723642"/>
                        </a:cubicBezTo>
                        <a:cubicBezTo>
                          <a:pt x="-7990" y="913271"/>
                          <a:pt x="-7990" y="1035331"/>
                          <a:pt x="96633" y="1107260"/>
                        </a:cubicBezTo>
                        <a:cubicBezTo>
                          <a:pt x="155483" y="1129056"/>
                          <a:pt x="356011" y="1105080"/>
                          <a:pt x="408322" y="680049"/>
                        </a:cubicBezTo>
                        <a:cubicBezTo>
                          <a:pt x="436658" y="318228"/>
                          <a:pt x="454095" y="111162"/>
                          <a:pt x="443197" y="34874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" name="Freihandform: Form 182">
                    <a:extLst>
                      <a:ext uri="{FF2B5EF4-FFF2-40B4-BE49-F238E27FC236}">
                        <a16:creationId xmlns:a16="http://schemas.microsoft.com/office/drawing/2014/main" id="{E7EB9117-178F-428E-B769-534F1D88F294}"/>
                      </a:ext>
                    </a:extLst>
                  </p:cNvPr>
                  <p:cNvSpPr/>
                  <p:nvPr/>
                </p:nvSpPr>
                <p:spPr>
                  <a:xfrm>
                    <a:off x="10396141" y="1131081"/>
                    <a:ext cx="1003874" cy="450498"/>
                  </a:xfrm>
                  <a:custGeom>
                    <a:avLst/>
                    <a:gdLst>
                      <a:gd name="connsiteX0" fmla="*/ 984257 w 1003874"/>
                      <a:gd name="connsiteY0" fmla="*/ 0 h 450498"/>
                      <a:gd name="connsiteX1" fmla="*/ 230100 w 1003874"/>
                      <a:gd name="connsiteY1" fmla="*/ 156934 h 450498"/>
                      <a:gd name="connsiteX2" fmla="*/ 1237 w 1003874"/>
                      <a:gd name="connsiteY2" fmla="*/ 387977 h 450498"/>
                      <a:gd name="connsiteX3" fmla="*/ 506915 w 1003874"/>
                      <a:gd name="connsiteY3" fmla="*/ 348743 h 450498"/>
                      <a:gd name="connsiteX4" fmla="*/ 1003874 w 1003874"/>
                      <a:gd name="connsiteY4" fmla="*/ 58850 h 450498"/>
                      <a:gd name="connsiteX5" fmla="*/ 984257 w 1003874"/>
                      <a:gd name="connsiteY5" fmla="*/ 0 h 4504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3874" h="450498">
                        <a:moveTo>
                          <a:pt x="984257" y="0"/>
                        </a:moveTo>
                        <a:cubicBezTo>
                          <a:pt x="984257" y="0"/>
                          <a:pt x="380496" y="74108"/>
                          <a:pt x="230100" y="156934"/>
                        </a:cubicBezTo>
                        <a:cubicBezTo>
                          <a:pt x="79705" y="239761"/>
                          <a:pt x="-11840" y="298611"/>
                          <a:pt x="1237" y="387977"/>
                        </a:cubicBezTo>
                        <a:cubicBezTo>
                          <a:pt x="20854" y="429390"/>
                          <a:pt x="160352" y="523115"/>
                          <a:pt x="506915" y="348743"/>
                        </a:cubicBezTo>
                        <a:cubicBezTo>
                          <a:pt x="792449" y="191809"/>
                          <a:pt x="953742" y="100264"/>
                          <a:pt x="1003874" y="58850"/>
                        </a:cubicBezTo>
                        <a:lnTo>
                          <a:pt x="984257" y="0"/>
                        </a:ln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" name="Freihandform: Form 183">
                    <a:extLst>
                      <a:ext uri="{FF2B5EF4-FFF2-40B4-BE49-F238E27FC236}">
                        <a16:creationId xmlns:a16="http://schemas.microsoft.com/office/drawing/2014/main" id="{FBE3DC25-AB04-4E96-AC23-4F506C8EBFAE}"/>
                      </a:ext>
                    </a:extLst>
                  </p:cNvPr>
                  <p:cNvSpPr/>
                  <p:nvPr/>
                </p:nvSpPr>
                <p:spPr>
                  <a:xfrm>
                    <a:off x="10585147" y="494585"/>
                    <a:ext cx="920658" cy="548241"/>
                  </a:xfrm>
                  <a:custGeom>
                    <a:avLst/>
                    <a:gdLst>
                      <a:gd name="connsiteX0" fmla="*/ 890144 w 920658"/>
                      <a:gd name="connsiteY0" fmla="*/ 548241 h 548241"/>
                      <a:gd name="connsiteX1" fmla="*/ 920659 w 920658"/>
                      <a:gd name="connsiteY1" fmla="*/ 495930 h 548241"/>
                      <a:gd name="connsiteX2" fmla="*/ 323436 w 920658"/>
                      <a:gd name="connsiteY2" fmla="*/ 53462 h 548241"/>
                      <a:gd name="connsiteX3" fmla="*/ 5208 w 920658"/>
                      <a:gd name="connsiteY3" fmla="*/ 40384 h 548241"/>
                      <a:gd name="connsiteX4" fmla="*/ 356131 w 920658"/>
                      <a:gd name="connsiteY4" fmla="*/ 380409 h 548241"/>
                      <a:gd name="connsiteX5" fmla="*/ 890144 w 920658"/>
                      <a:gd name="connsiteY5" fmla="*/ 548241 h 5482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20658" h="548241">
                        <a:moveTo>
                          <a:pt x="890144" y="548241"/>
                        </a:moveTo>
                        <a:lnTo>
                          <a:pt x="920659" y="495930"/>
                        </a:lnTo>
                        <a:cubicBezTo>
                          <a:pt x="920659" y="495930"/>
                          <a:pt x="480371" y="105773"/>
                          <a:pt x="323436" y="53462"/>
                        </a:cubicBezTo>
                        <a:cubicBezTo>
                          <a:pt x="166502" y="-1029"/>
                          <a:pt x="64059" y="-27185"/>
                          <a:pt x="5208" y="40384"/>
                        </a:cubicBezTo>
                        <a:cubicBezTo>
                          <a:pt x="-14409" y="81797"/>
                          <a:pt x="5208" y="245271"/>
                          <a:pt x="356131" y="380409"/>
                        </a:cubicBezTo>
                        <a:cubicBezTo>
                          <a:pt x="654742" y="482852"/>
                          <a:pt x="826934" y="541702"/>
                          <a:pt x="890144" y="54824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5" name="Freihandform: Form 184">
                    <a:extLst>
                      <a:ext uri="{FF2B5EF4-FFF2-40B4-BE49-F238E27FC236}">
                        <a16:creationId xmlns:a16="http://schemas.microsoft.com/office/drawing/2014/main" id="{0CD0A21E-35BC-4FCF-915E-AFC50052C69C}"/>
                      </a:ext>
                    </a:extLst>
                  </p:cNvPr>
                  <p:cNvSpPr/>
                  <p:nvPr/>
                </p:nvSpPr>
                <p:spPr>
                  <a:xfrm>
                    <a:off x="10408443" y="881147"/>
                    <a:ext cx="1017938" cy="294502"/>
                  </a:xfrm>
                  <a:custGeom>
                    <a:avLst/>
                    <a:gdLst>
                      <a:gd name="connsiteX0" fmla="*/ 1009220 w 1017938"/>
                      <a:gd name="connsiteY0" fmla="*/ 255173 h 294502"/>
                      <a:gd name="connsiteX1" fmla="*/ 1017939 w 1017938"/>
                      <a:gd name="connsiteY1" fmla="*/ 196323 h 294502"/>
                      <a:gd name="connsiteX2" fmla="*/ 300836 w 1017938"/>
                      <a:gd name="connsiteY2" fmla="*/ 155 h 294502"/>
                      <a:gd name="connsiteX3" fmla="*/ 45 w 1017938"/>
                      <a:gd name="connsiteY3" fmla="*/ 106957 h 294502"/>
                      <a:gd name="connsiteX4" fmla="*/ 451231 w 1017938"/>
                      <a:gd name="connsiteY4" fmla="*/ 294407 h 294502"/>
                      <a:gd name="connsiteX5" fmla="*/ 1009220 w 1017938"/>
                      <a:gd name="connsiteY5" fmla="*/ 255173 h 2945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7938" h="294502">
                        <a:moveTo>
                          <a:pt x="1009220" y="255173"/>
                        </a:moveTo>
                        <a:lnTo>
                          <a:pt x="1017939" y="196323"/>
                        </a:lnTo>
                        <a:cubicBezTo>
                          <a:pt x="1017939" y="196323"/>
                          <a:pt x="466489" y="-6384"/>
                          <a:pt x="300836" y="155"/>
                        </a:cubicBezTo>
                        <a:cubicBezTo>
                          <a:pt x="135183" y="8873"/>
                          <a:pt x="30560" y="19772"/>
                          <a:pt x="45" y="106957"/>
                        </a:cubicBezTo>
                        <a:cubicBezTo>
                          <a:pt x="-2135" y="152730"/>
                          <a:pt x="74153" y="298766"/>
                          <a:pt x="451231" y="294407"/>
                        </a:cubicBezTo>
                        <a:cubicBezTo>
                          <a:pt x="767280" y="279149"/>
                          <a:pt x="948190" y="272610"/>
                          <a:pt x="1009220" y="255173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6" name="Freihandform: Form 185">
                    <a:extLst>
                      <a:ext uri="{FF2B5EF4-FFF2-40B4-BE49-F238E27FC236}">
                        <a16:creationId xmlns:a16="http://schemas.microsoft.com/office/drawing/2014/main" id="{FC721DD0-1D6A-46CC-B989-16AFC81BFC4C}"/>
                      </a:ext>
                    </a:extLst>
                  </p:cNvPr>
                  <p:cNvSpPr/>
                  <p:nvPr/>
                </p:nvSpPr>
                <p:spPr>
                  <a:xfrm>
                    <a:off x="11308288" y="22604"/>
                    <a:ext cx="309026" cy="1011355"/>
                  </a:xfrm>
                  <a:custGeom>
                    <a:avLst/>
                    <a:gdLst>
                      <a:gd name="connsiteX0" fmla="*/ 43518 w 309026"/>
                      <a:gd name="connsiteY0" fmla="*/ 483881 h 1011355"/>
                      <a:gd name="connsiteX1" fmla="*/ 233147 w 309026"/>
                      <a:gd name="connsiteY1" fmla="*/ 1011355 h 1011355"/>
                      <a:gd name="connsiteX2" fmla="*/ 291998 w 309026"/>
                      <a:gd name="connsiteY2" fmla="*/ 1004816 h 1011355"/>
                      <a:gd name="connsiteX3" fmla="*/ 283279 w 309026"/>
                      <a:gd name="connsiteY3" fmla="*/ 261557 h 1011355"/>
                      <a:gd name="connsiteX4" fmla="*/ 100189 w 309026"/>
                      <a:gd name="connsiteY4" fmla="*/ 0 h 1011355"/>
                      <a:gd name="connsiteX5" fmla="*/ 43518 w 309026"/>
                      <a:gd name="connsiteY5" fmla="*/ 483881 h 1011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9026" h="1011355">
                        <a:moveTo>
                          <a:pt x="43518" y="483881"/>
                        </a:moveTo>
                        <a:cubicBezTo>
                          <a:pt x="143782" y="782493"/>
                          <a:pt x="200453" y="954684"/>
                          <a:pt x="233147" y="1011355"/>
                        </a:cubicBezTo>
                        <a:lnTo>
                          <a:pt x="291998" y="1004816"/>
                        </a:lnTo>
                        <a:cubicBezTo>
                          <a:pt x="291998" y="1004816"/>
                          <a:pt x="335591" y="418492"/>
                          <a:pt x="283279" y="261557"/>
                        </a:cubicBezTo>
                        <a:cubicBezTo>
                          <a:pt x="230968" y="104623"/>
                          <a:pt x="189554" y="6539"/>
                          <a:pt x="100189" y="0"/>
                        </a:cubicBezTo>
                        <a:cubicBezTo>
                          <a:pt x="54417" y="8719"/>
                          <a:pt x="-63284" y="122060"/>
                          <a:pt x="43518" y="483881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7" name="Freihandform: Form 186">
                    <a:extLst>
                      <a:ext uri="{FF2B5EF4-FFF2-40B4-BE49-F238E27FC236}">
                        <a16:creationId xmlns:a16="http://schemas.microsoft.com/office/drawing/2014/main" id="{79ED9F5F-94B3-4276-BE5D-789E69907677}"/>
                      </a:ext>
                    </a:extLst>
                  </p:cNvPr>
                  <p:cNvSpPr/>
                  <p:nvPr/>
                </p:nvSpPr>
                <p:spPr>
                  <a:xfrm>
                    <a:off x="10900924" y="231760"/>
                    <a:ext cx="670938" cy="823422"/>
                  </a:xfrm>
                  <a:custGeom>
                    <a:avLst/>
                    <a:gdLst>
                      <a:gd name="connsiteX0" fmla="*/ 219752 w 670938"/>
                      <a:gd name="connsiteY0" fmla="*/ 457242 h 823422"/>
                      <a:gd name="connsiteX1" fmla="*/ 629525 w 670938"/>
                      <a:gd name="connsiteY1" fmla="*/ 823423 h 823422"/>
                      <a:gd name="connsiteX2" fmla="*/ 670939 w 670938"/>
                      <a:gd name="connsiteY2" fmla="*/ 788548 h 823422"/>
                      <a:gd name="connsiteX3" fmla="*/ 291680 w 670938"/>
                      <a:gd name="connsiteY3" fmla="*/ 149912 h 823422"/>
                      <a:gd name="connsiteX4" fmla="*/ 19225 w 670938"/>
                      <a:gd name="connsiteY4" fmla="*/ 10415 h 823422"/>
                      <a:gd name="connsiteX5" fmla="*/ 219752 w 670938"/>
                      <a:gd name="connsiteY5" fmla="*/ 457242 h 8234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0938" h="823422">
                        <a:moveTo>
                          <a:pt x="219752" y="457242"/>
                        </a:moveTo>
                        <a:cubicBezTo>
                          <a:pt x="446435" y="668668"/>
                          <a:pt x="577214" y="790728"/>
                          <a:pt x="629525" y="823423"/>
                        </a:cubicBezTo>
                        <a:lnTo>
                          <a:pt x="670939" y="788548"/>
                        </a:lnTo>
                        <a:cubicBezTo>
                          <a:pt x="670939" y="788548"/>
                          <a:pt x="409381" y="261074"/>
                          <a:pt x="291680" y="149912"/>
                        </a:cubicBezTo>
                        <a:cubicBezTo>
                          <a:pt x="171800" y="38750"/>
                          <a:pt x="93333" y="-26639"/>
                          <a:pt x="19225" y="10415"/>
                        </a:cubicBezTo>
                        <a:cubicBezTo>
                          <a:pt x="-9111" y="40930"/>
                          <a:pt x="-43985" y="195685"/>
                          <a:pt x="219752" y="457242"/>
                        </a:cubicBezTo>
                        <a:close/>
                      </a:path>
                    </a:pathLst>
                  </a:custGeom>
                  <a:solidFill>
                    <a:srgbClr val="EEF3F6"/>
                  </a:solidFill>
                  <a:ln w="217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grpSp>
                <p:nvGrpSpPr>
                  <p:cNvPr id="38" name="Grafik 5">
                    <a:extLst>
                      <a:ext uri="{FF2B5EF4-FFF2-40B4-BE49-F238E27FC236}">
                        <a16:creationId xmlns:a16="http://schemas.microsoft.com/office/drawing/2014/main" id="{4A90D31E-4AF8-416D-9D63-C0C20A8D2B29}"/>
                      </a:ext>
                    </a:extLst>
                  </p:cNvPr>
                  <p:cNvGrpSpPr/>
                  <p:nvPr/>
                </p:nvGrpSpPr>
                <p:grpSpPr>
                  <a:xfrm>
                    <a:off x="10468669" y="91979"/>
                    <a:ext cx="2134946" cy="2159439"/>
                    <a:chOff x="10468669" y="91979"/>
                    <a:chExt cx="2134946" cy="2159439"/>
                  </a:xfrm>
                  <a:solidFill>
                    <a:srgbClr val="FFFFFF"/>
                  </a:solidFill>
                </p:grpSpPr>
                <p:sp>
                  <p:nvSpPr>
                    <p:cNvPr id="39" name="Freihandform: Form 188">
                      <a:extLst>
                        <a:ext uri="{FF2B5EF4-FFF2-40B4-BE49-F238E27FC236}">
                          <a16:creationId xmlns:a16="http://schemas.microsoft.com/office/drawing/2014/main" id="{63D88DF8-E96F-4D7F-9795-CF005175F9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8669" y="728333"/>
                      <a:ext cx="1020510" cy="415311"/>
                    </a:xfrm>
                    <a:custGeom>
                      <a:avLst/>
                      <a:gdLst>
                        <a:gd name="connsiteX0" fmla="*/ 1005253 w 1020510"/>
                        <a:gd name="connsiteY0" fmla="*/ 370222 h 370774"/>
                        <a:gd name="connsiteX1" fmla="*/ 1020511 w 1020510"/>
                        <a:gd name="connsiteY1" fmla="*/ 315731 h 370774"/>
                        <a:gd name="connsiteX2" fmla="*/ 314306 w 1020510"/>
                        <a:gd name="connsiteY2" fmla="*/ 12760 h 370774"/>
                        <a:gd name="connsiteX3" fmla="*/ 437 w 1020510"/>
                        <a:gd name="connsiteY3" fmla="*/ 65072 h 370774"/>
                        <a:gd name="connsiteX4" fmla="*/ 438546 w 1020510"/>
                        <a:gd name="connsiteY4" fmla="*/ 317911 h 370774"/>
                        <a:gd name="connsiteX5" fmla="*/ 1005253 w 1020510"/>
                        <a:gd name="connsiteY5" fmla="*/ 370222 h 3707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0774">
                          <a:moveTo>
                            <a:pt x="1005253" y="370222"/>
                          </a:moveTo>
                          <a:lnTo>
                            <a:pt x="1020511" y="315731"/>
                          </a:lnTo>
                          <a:cubicBezTo>
                            <a:pt x="1020511" y="315731"/>
                            <a:pt x="482138" y="32377"/>
                            <a:pt x="314306" y="12760"/>
                          </a:cubicBezTo>
                          <a:cubicBezTo>
                            <a:pt x="146473" y="-6856"/>
                            <a:pt x="39671" y="-13395"/>
                            <a:pt x="437" y="65072"/>
                          </a:cubicBezTo>
                          <a:cubicBezTo>
                            <a:pt x="-6102" y="108665"/>
                            <a:pt x="57108" y="261240"/>
                            <a:pt x="438546" y="317911"/>
                          </a:cubicBezTo>
                          <a:cubicBezTo>
                            <a:pt x="756774" y="352785"/>
                            <a:pt x="939864" y="374581"/>
                            <a:pt x="1005253" y="37022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0" name="Freihandform: Form 189">
                      <a:extLst>
                        <a:ext uri="{FF2B5EF4-FFF2-40B4-BE49-F238E27FC236}">
                          <a16:creationId xmlns:a16="http://schemas.microsoft.com/office/drawing/2014/main" id="{FD2B1FF9-7C17-423E-A128-72408CF40B4B}"/>
                        </a:ext>
                      </a:extLst>
                    </p:cNvPr>
                    <p:cNvSpPr/>
                    <p:nvPr/>
                  </p:nvSpPr>
                  <p:spPr>
                    <a:xfrm rot="184551">
                      <a:off x="10473608" y="1098449"/>
                      <a:ext cx="1052768" cy="433246"/>
                    </a:xfrm>
                    <a:custGeom>
                      <a:avLst/>
                      <a:gdLst>
                        <a:gd name="connsiteX0" fmla="*/ 1052768 w 1052768"/>
                        <a:gd name="connsiteY0" fmla="*/ 84495 h 433246"/>
                        <a:gd name="connsiteX1" fmla="*/ 1046230 w 1052768"/>
                        <a:gd name="connsiteY1" fmla="*/ 6028 h 433246"/>
                        <a:gd name="connsiteX2" fmla="*/ 274635 w 1052768"/>
                        <a:gd name="connsiteY2" fmla="*/ 51800 h 433246"/>
                        <a:gd name="connsiteX3" fmla="*/ 0 w 1052768"/>
                        <a:gd name="connsiteY3" fmla="*/ 308998 h 433246"/>
                        <a:gd name="connsiteX4" fmla="*/ 503498 w 1052768"/>
                        <a:gd name="connsiteY4" fmla="*/ 363489 h 433246"/>
                        <a:gd name="connsiteX5" fmla="*/ 1052768 w 1052768"/>
                        <a:gd name="connsiteY5" fmla="*/ 84495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2768" h="433246">
                          <a:moveTo>
                            <a:pt x="1052768" y="84495"/>
                          </a:moveTo>
                          <a:lnTo>
                            <a:pt x="1046230" y="6028"/>
                          </a:lnTo>
                          <a:cubicBezTo>
                            <a:pt x="1046230" y="6028"/>
                            <a:pt x="438109" y="-24487"/>
                            <a:pt x="274635" y="51800"/>
                          </a:cubicBezTo>
                          <a:cubicBezTo>
                            <a:pt x="111162" y="130267"/>
                            <a:pt x="8719" y="186938"/>
                            <a:pt x="0" y="308998"/>
                          </a:cubicBezTo>
                          <a:cubicBezTo>
                            <a:pt x="10898" y="367849"/>
                            <a:pt x="126419" y="522603"/>
                            <a:pt x="503498" y="363489"/>
                          </a:cubicBezTo>
                          <a:cubicBezTo>
                            <a:pt x="815187" y="215274"/>
                            <a:pt x="993918" y="130267"/>
                            <a:pt x="1052768" y="84495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1" name="Freihandform: Form 190">
                      <a:extLst>
                        <a:ext uri="{FF2B5EF4-FFF2-40B4-BE49-F238E27FC236}">
                          <a16:creationId xmlns:a16="http://schemas.microsoft.com/office/drawing/2014/main" id="{280AA17C-92CD-409E-B4DB-860D2EDE0C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99290" y="383058"/>
                      <a:ext cx="800989" cy="693531"/>
                    </a:xfrm>
                    <a:custGeom>
                      <a:avLst/>
                      <a:gdLst>
                        <a:gd name="connsiteX0" fmla="*/ 800989 w 800989"/>
                        <a:gd name="connsiteY0" fmla="*/ 649939 h 693531"/>
                        <a:gd name="connsiteX1" fmla="*/ 312749 w 800989"/>
                        <a:gd name="connsiteY1" fmla="*/ 100668 h 693531"/>
                        <a:gd name="connsiteX2" fmla="*/ 11958 w 800989"/>
                        <a:gd name="connsiteY2" fmla="*/ 22201 h 693531"/>
                        <a:gd name="connsiteX3" fmla="*/ 286593 w 800989"/>
                        <a:gd name="connsiteY3" fmla="*/ 421076 h 693531"/>
                        <a:gd name="connsiteX4" fmla="*/ 763935 w 800989"/>
                        <a:gd name="connsiteY4" fmla="*/ 693532 h 693531"/>
                        <a:gd name="connsiteX5" fmla="*/ 800989 w 800989"/>
                        <a:gd name="connsiteY5" fmla="*/ 649939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800989" y="649939"/>
                          </a:moveTo>
                          <a:cubicBezTo>
                            <a:pt x="800989" y="649939"/>
                            <a:pt x="452246" y="185674"/>
                            <a:pt x="312749" y="100668"/>
                          </a:cubicBezTo>
                          <a:cubicBezTo>
                            <a:pt x="173252" y="15662"/>
                            <a:pt x="81706" y="-30111"/>
                            <a:pt x="11958" y="22201"/>
                          </a:cubicBezTo>
                          <a:cubicBezTo>
                            <a:pt x="-14198" y="59255"/>
                            <a:pt x="-25096" y="218369"/>
                            <a:pt x="286593" y="421076"/>
                          </a:cubicBezTo>
                          <a:cubicBezTo>
                            <a:pt x="552510" y="580190"/>
                            <a:pt x="705085" y="673915"/>
                            <a:pt x="763935" y="693532"/>
                          </a:cubicBezTo>
                          <a:lnTo>
                            <a:pt x="800989" y="649939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2" name="Freihandform: Form 191">
                      <a:extLst>
                        <a:ext uri="{FF2B5EF4-FFF2-40B4-BE49-F238E27FC236}">
                          <a16:creationId xmlns:a16="http://schemas.microsoft.com/office/drawing/2014/main" id="{B461D9AE-4D53-4209-AD25-2D4E864869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0345" y="91979"/>
                      <a:ext cx="304507" cy="974301"/>
                    </a:xfrm>
                    <a:custGeom>
                      <a:avLst/>
                      <a:gdLst>
                        <a:gd name="connsiteX0" fmla="*/ 132060 w 274679"/>
                        <a:gd name="connsiteY0" fmla="*/ 974301 h 974301"/>
                        <a:gd name="connsiteX1" fmla="*/ 188730 w 274679"/>
                        <a:gd name="connsiteY1" fmla="*/ 974301 h 974301"/>
                        <a:gd name="connsiteX2" fmla="*/ 269377 w 274679"/>
                        <a:gd name="connsiteY2" fmla="*/ 270276 h 974301"/>
                        <a:gd name="connsiteX3" fmla="*/ 127700 w 274679"/>
                        <a:gd name="connsiteY3" fmla="*/ 0 h 974301"/>
                        <a:gd name="connsiteX4" fmla="*/ 14359 w 274679"/>
                        <a:gd name="connsiteY4" fmla="*/ 451186 h 974301"/>
                        <a:gd name="connsiteX5" fmla="*/ 132060 w 274679"/>
                        <a:gd name="connsiteY5" fmla="*/ 974301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32060" y="974301"/>
                          </a:moveTo>
                          <a:lnTo>
                            <a:pt x="188730" y="974301"/>
                          </a:lnTo>
                          <a:cubicBezTo>
                            <a:pt x="188730" y="974301"/>
                            <a:pt x="299892" y="425031"/>
                            <a:pt x="269377" y="270276"/>
                          </a:cubicBezTo>
                          <a:cubicBezTo>
                            <a:pt x="238862" y="115521"/>
                            <a:pt x="212707" y="17437"/>
                            <a:pt x="127700" y="0"/>
                          </a:cubicBezTo>
                          <a:cubicBezTo>
                            <a:pt x="84107" y="4359"/>
                            <a:pt x="-42312" y="95904"/>
                            <a:pt x="14359" y="451186"/>
                          </a:cubicBezTo>
                          <a:cubicBezTo>
                            <a:pt x="75389" y="749798"/>
                            <a:pt x="108084" y="917631"/>
                            <a:pt x="132060" y="974301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3" name="Freihandform: Form 192">
                      <a:extLst>
                        <a:ext uri="{FF2B5EF4-FFF2-40B4-BE49-F238E27FC236}">
                          <a16:creationId xmlns:a16="http://schemas.microsoft.com/office/drawing/2014/main" id="{9B5C64E6-8EF5-4A0C-8D95-D25B9D70C8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71041" y="186511"/>
                      <a:ext cx="462825" cy="908535"/>
                    </a:xfrm>
                    <a:custGeom>
                      <a:avLst/>
                      <a:gdLst>
                        <a:gd name="connsiteX0" fmla="*/ 410514 w 462825"/>
                        <a:gd name="connsiteY0" fmla="*/ 908536 h 908535"/>
                        <a:gd name="connsiteX1" fmla="*/ 462826 w 462825"/>
                        <a:gd name="connsiteY1" fmla="*/ 888919 h 908535"/>
                        <a:gd name="connsiteX2" fmla="*/ 281915 w 462825"/>
                        <a:gd name="connsiteY2" fmla="*/ 202331 h 908535"/>
                        <a:gd name="connsiteX3" fmla="*/ 53052 w 462825"/>
                        <a:gd name="connsiteY3" fmla="*/ 1803 h 908535"/>
                        <a:gd name="connsiteX4" fmla="*/ 114082 w 462825"/>
                        <a:gd name="connsiteY4" fmla="*/ 463888 h 908535"/>
                        <a:gd name="connsiteX5" fmla="*/ 410514 w 462825"/>
                        <a:gd name="connsiteY5" fmla="*/ 908536 h 9085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8535">
                          <a:moveTo>
                            <a:pt x="410514" y="908536"/>
                          </a:moveTo>
                          <a:lnTo>
                            <a:pt x="462826" y="888919"/>
                          </a:lnTo>
                          <a:cubicBezTo>
                            <a:pt x="462826" y="888919"/>
                            <a:pt x="366921" y="335289"/>
                            <a:pt x="281915" y="202331"/>
                          </a:cubicBezTo>
                          <a:cubicBezTo>
                            <a:pt x="196909" y="69372"/>
                            <a:pt x="138059" y="-13454"/>
                            <a:pt x="53052" y="1803"/>
                          </a:cubicBezTo>
                          <a:cubicBezTo>
                            <a:pt x="13819" y="21420"/>
                            <a:pt x="-69008" y="154378"/>
                            <a:pt x="114082" y="463888"/>
                          </a:cubicBezTo>
                          <a:cubicBezTo>
                            <a:pt x="275376" y="718906"/>
                            <a:pt x="366921" y="864943"/>
                            <a:pt x="410514" y="90853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4" name="Freihandform: Form 193">
                      <a:extLst>
                        <a:ext uri="{FF2B5EF4-FFF2-40B4-BE49-F238E27FC236}">
                          <a16:creationId xmlns:a16="http://schemas.microsoft.com/office/drawing/2014/main" id="{38D10A3D-9EBD-4282-91B6-20E5AE29EC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2098" y="467391"/>
                      <a:ext cx="784672" cy="662868"/>
                    </a:xfrm>
                    <a:custGeom>
                      <a:avLst/>
                      <a:gdLst>
                        <a:gd name="connsiteX0" fmla="*/ 344384 w 784672"/>
                        <a:gd name="connsiteY0" fmla="*/ 209502 h 662868"/>
                        <a:gd name="connsiteX1" fmla="*/ 0 w 784672"/>
                        <a:gd name="connsiteY1" fmla="*/ 617096 h 662868"/>
                        <a:gd name="connsiteX2" fmla="*/ 34874 w 784672"/>
                        <a:gd name="connsiteY2" fmla="*/ 662868 h 662868"/>
                        <a:gd name="connsiteX3" fmla="*/ 645175 w 784672"/>
                        <a:gd name="connsiteY3" fmla="*/ 301047 h 662868"/>
                        <a:gd name="connsiteX4" fmla="*/ 773774 w 784672"/>
                        <a:gd name="connsiteY4" fmla="*/ 26412 h 662868"/>
                        <a:gd name="connsiteX5" fmla="*/ 344384 w 784672"/>
                        <a:gd name="connsiteY5" fmla="*/ 209502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344384" y="209502"/>
                          </a:moveTo>
                          <a:cubicBezTo>
                            <a:pt x="146036" y="436185"/>
                            <a:pt x="30515" y="564784"/>
                            <a:pt x="0" y="617096"/>
                          </a:cubicBezTo>
                          <a:lnTo>
                            <a:pt x="34874" y="662868"/>
                          </a:lnTo>
                          <a:cubicBezTo>
                            <a:pt x="34874" y="662868"/>
                            <a:pt x="540552" y="418748"/>
                            <a:pt x="645175" y="301047"/>
                          </a:cubicBezTo>
                          <a:cubicBezTo>
                            <a:pt x="749798" y="183346"/>
                            <a:pt x="810828" y="102699"/>
                            <a:pt x="773774" y="26412"/>
                          </a:cubicBezTo>
                          <a:cubicBezTo>
                            <a:pt x="741079" y="-8463"/>
                            <a:pt x="590684" y="-52055"/>
                            <a:pt x="344384" y="20950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5" name="Freihandform: Form 194">
                      <a:extLst>
                        <a:ext uri="{FF2B5EF4-FFF2-40B4-BE49-F238E27FC236}">
                          <a16:creationId xmlns:a16="http://schemas.microsoft.com/office/drawing/2014/main" id="{D18302AF-D5A8-48F5-9278-8FC2951A58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71862" y="211652"/>
                      <a:ext cx="424485" cy="912068"/>
                    </a:xfrm>
                    <a:custGeom>
                      <a:avLst/>
                      <a:gdLst>
                        <a:gd name="connsiteX0" fmla="*/ 106803 w 424485"/>
                        <a:gd name="connsiteY0" fmla="*/ 380235 h 912068"/>
                        <a:gd name="connsiteX1" fmla="*/ 0 w 424485"/>
                        <a:gd name="connsiteY1" fmla="*/ 894631 h 912068"/>
                        <a:gd name="connsiteX2" fmla="*/ 47952 w 424485"/>
                        <a:gd name="connsiteY2" fmla="*/ 912069 h 912068"/>
                        <a:gd name="connsiteX3" fmla="*/ 394516 w 424485"/>
                        <a:gd name="connsiteY3" fmla="*/ 293049 h 912068"/>
                        <a:gd name="connsiteX4" fmla="*/ 379258 w 424485"/>
                        <a:gd name="connsiteY4" fmla="*/ 977 h 912068"/>
                        <a:gd name="connsiteX5" fmla="*/ 106803 w 424485"/>
                        <a:gd name="connsiteY5" fmla="*/ 380235 h 9120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68">
                          <a:moveTo>
                            <a:pt x="106803" y="380235"/>
                          </a:moveTo>
                          <a:cubicBezTo>
                            <a:pt x="41413" y="670128"/>
                            <a:pt x="2180" y="835781"/>
                            <a:pt x="0" y="894631"/>
                          </a:cubicBezTo>
                          <a:lnTo>
                            <a:pt x="47952" y="912069"/>
                          </a:lnTo>
                          <a:cubicBezTo>
                            <a:pt x="47952" y="912069"/>
                            <a:pt x="359641" y="445625"/>
                            <a:pt x="394516" y="293049"/>
                          </a:cubicBezTo>
                          <a:cubicBezTo>
                            <a:pt x="429390" y="142654"/>
                            <a:pt x="444647" y="44570"/>
                            <a:pt x="379258" y="977"/>
                          </a:cubicBezTo>
                          <a:cubicBezTo>
                            <a:pt x="342204" y="-7742"/>
                            <a:pt x="198348" y="35851"/>
                            <a:pt x="106803" y="380235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6" name="Freihandform: Form 195">
                      <a:extLst>
                        <a:ext uri="{FF2B5EF4-FFF2-40B4-BE49-F238E27FC236}">
                          <a16:creationId xmlns:a16="http://schemas.microsoft.com/office/drawing/2014/main" id="{5897F0D5-0D03-43D7-85E4-1F1A4E7227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83105" y="1175700"/>
                      <a:ext cx="1020510" cy="371374"/>
                    </a:xfrm>
                    <a:custGeom>
                      <a:avLst/>
                      <a:gdLst>
                        <a:gd name="connsiteX0" fmla="*/ 15258 w 1020510"/>
                        <a:gd name="connsiteY0" fmla="*/ 1153 h 371374"/>
                        <a:gd name="connsiteX1" fmla="*/ 0 w 1020510"/>
                        <a:gd name="connsiteY1" fmla="*/ 55644 h 371374"/>
                        <a:gd name="connsiteX2" fmla="*/ 706205 w 1020510"/>
                        <a:gd name="connsiteY2" fmla="*/ 358615 h 371374"/>
                        <a:gd name="connsiteX3" fmla="*/ 1020074 w 1020510"/>
                        <a:gd name="connsiteY3" fmla="*/ 306303 h 371374"/>
                        <a:gd name="connsiteX4" fmla="*/ 581965 w 1020510"/>
                        <a:gd name="connsiteY4" fmla="*/ 53464 h 371374"/>
                        <a:gd name="connsiteX5" fmla="*/ 15258 w 1020510"/>
                        <a:gd name="connsiteY5" fmla="*/ 1153 h 3713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20510" h="371374">
                          <a:moveTo>
                            <a:pt x="15258" y="1153"/>
                          </a:moveTo>
                          <a:lnTo>
                            <a:pt x="0" y="55644"/>
                          </a:lnTo>
                          <a:cubicBezTo>
                            <a:pt x="0" y="55644"/>
                            <a:pt x="538372" y="338998"/>
                            <a:pt x="706205" y="358615"/>
                          </a:cubicBezTo>
                          <a:cubicBezTo>
                            <a:pt x="874038" y="378231"/>
                            <a:pt x="980840" y="384770"/>
                            <a:pt x="1020074" y="306303"/>
                          </a:cubicBezTo>
                          <a:cubicBezTo>
                            <a:pt x="1026613" y="262710"/>
                            <a:pt x="963403" y="110135"/>
                            <a:pt x="581965" y="53464"/>
                          </a:cubicBezTo>
                          <a:cubicBezTo>
                            <a:pt x="263737" y="16410"/>
                            <a:pt x="80647" y="-5386"/>
                            <a:pt x="15258" y="115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7" name="Freihandform: Form 196">
                      <a:extLst>
                        <a:ext uri="{FF2B5EF4-FFF2-40B4-BE49-F238E27FC236}">
                          <a16:creationId xmlns:a16="http://schemas.microsoft.com/office/drawing/2014/main" id="{A3AF54DA-4169-47AB-877E-F028267B2A74}"/>
                        </a:ext>
                      </a:extLst>
                    </p:cNvPr>
                    <p:cNvSpPr/>
                    <p:nvPr/>
                  </p:nvSpPr>
                  <p:spPr>
                    <a:xfrm rot="173298">
                      <a:off x="11535888" y="876439"/>
                      <a:ext cx="1050588" cy="331192"/>
                    </a:xfrm>
                    <a:custGeom>
                      <a:avLst/>
                      <a:gdLst>
                        <a:gd name="connsiteX0" fmla="*/ 0 w 1050588"/>
                        <a:gd name="connsiteY0" fmla="*/ 348751 h 433246"/>
                        <a:gd name="connsiteX1" fmla="*/ 6539 w 1050588"/>
                        <a:gd name="connsiteY1" fmla="*/ 427218 h 433246"/>
                        <a:gd name="connsiteX2" fmla="*/ 778133 w 1050588"/>
                        <a:gd name="connsiteY2" fmla="*/ 381446 h 433246"/>
                        <a:gd name="connsiteX3" fmla="*/ 1050589 w 1050588"/>
                        <a:gd name="connsiteY3" fmla="*/ 124248 h 433246"/>
                        <a:gd name="connsiteX4" fmla="*/ 547091 w 1050588"/>
                        <a:gd name="connsiteY4" fmla="*/ 69757 h 433246"/>
                        <a:gd name="connsiteX5" fmla="*/ 0 w 1050588"/>
                        <a:gd name="connsiteY5" fmla="*/ 348751 h 4332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050588" h="433246">
                          <a:moveTo>
                            <a:pt x="0" y="348751"/>
                          </a:moveTo>
                          <a:lnTo>
                            <a:pt x="6539" y="427218"/>
                          </a:lnTo>
                          <a:cubicBezTo>
                            <a:pt x="6539" y="427218"/>
                            <a:pt x="614660" y="457733"/>
                            <a:pt x="778133" y="381446"/>
                          </a:cubicBezTo>
                          <a:cubicBezTo>
                            <a:pt x="941607" y="302979"/>
                            <a:pt x="1044050" y="246308"/>
                            <a:pt x="1050589" y="124248"/>
                          </a:cubicBezTo>
                          <a:cubicBezTo>
                            <a:pt x="1039691" y="65397"/>
                            <a:pt x="924169" y="-89357"/>
                            <a:pt x="547091" y="69757"/>
                          </a:cubicBezTo>
                          <a:cubicBezTo>
                            <a:pt x="235402" y="217972"/>
                            <a:pt x="56671" y="300799"/>
                            <a:pt x="0" y="348751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8" name="Freihandform: Form 197">
                      <a:extLst>
                        <a:ext uri="{FF2B5EF4-FFF2-40B4-BE49-F238E27FC236}">
                          <a16:creationId xmlns:a16="http://schemas.microsoft.com/office/drawing/2014/main" id="{F5ACC607-6148-4223-8E09-57114ADEF5C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56950" y="1233524"/>
                      <a:ext cx="800989" cy="693531"/>
                    </a:xfrm>
                    <a:custGeom>
                      <a:avLst/>
                      <a:gdLst>
                        <a:gd name="connsiteX0" fmla="*/ 0 w 800989"/>
                        <a:gd name="connsiteY0" fmla="*/ 43593 h 693531"/>
                        <a:gd name="connsiteX1" fmla="*/ 488240 w 800989"/>
                        <a:gd name="connsiteY1" fmla="*/ 592863 h 693531"/>
                        <a:gd name="connsiteX2" fmla="*/ 789032 w 800989"/>
                        <a:gd name="connsiteY2" fmla="*/ 671331 h 693531"/>
                        <a:gd name="connsiteX3" fmla="*/ 514396 w 800989"/>
                        <a:gd name="connsiteY3" fmla="*/ 272456 h 693531"/>
                        <a:gd name="connsiteX4" fmla="*/ 37054 w 800989"/>
                        <a:gd name="connsiteY4" fmla="*/ 0 h 693531"/>
                        <a:gd name="connsiteX5" fmla="*/ 0 w 800989"/>
                        <a:gd name="connsiteY5" fmla="*/ 43593 h 693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00989" h="693531">
                          <a:moveTo>
                            <a:pt x="0" y="43593"/>
                          </a:moveTo>
                          <a:cubicBezTo>
                            <a:pt x="0" y="43593"/>
                            <a:pt x="348743" y="507857"/>
                            <a:pt x="488240" y="592863"/>
                          </a:cubicBezTo>
                          <a:cubicBezTo>
                            <a:pt x="627738" y="677870"/>
                            <a:pt x="719283" y="723642"/>
                            <a:pt x="789032" y="671331"/>
                          </a:cubicBezTo>
                          <a:cubicBezTo>
                            <a:pt x="815187" y="634277"/>
                            <a:pt x="826085" y="475163"/>
                            <a:pt x="514396" y="272456"/>
                          </a:cubicBezTo>
                          <a:cubicBezTo>
                            <a:pt x="248480" y="113342"/>
                            <a:pt x="95904" y="21796"/>
                            <a:pt x="37054" y="0"/>
                          </a:cubicBezTo>
                          <a:lnTo>
                            <a:pt x="0" y="4359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49" name="Freihandform: Form 198">
                      <a:extLst>
                        <a:ext uri="{FF2B5EF4-FFF2-40B4-BE49-F238E27FC236}">
                          <a16:creationId xmlns:a16="http://schemas.microsoft.com/office/drawing/2014/main" id="{5F7989BE-C6AA-455C-8F02-C5806BB565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5096" y="1277117"/>
                      <a:ext cx="274679" cy="974301"/>
                    </a:xfrm>
                    <a:custGeom>
                      <a:avLst/>
                      <a:gdLst>
                        <a:gd name="connsiteX0" fmla="*/ 142620 w 274679"/>
                        <a:gd name="connsiteY0" fmla="*/ 0 h 974301"/>
                        <a:gd name="connsiteX1" fmla="*/ 85949 w 274679"/>
                        <a:gd name="connsiteY1" fmla="*/ 0 h 974301"/>
                        <a:gd name="connsiteX2" fmla="*/ 5302 w 274679"/>
                        <a:gd name="connsiteY2" fmla="*/ 704025 h 974301"/>
                        <a:gd name="connsiteX3" fmla="*/ 146979 w 274679"/>
                        <a:gd name="connsiteY3" fmla="*/ 974301 h 974301"/>
                        <a:gd name="connsiteX4" fmla="*/ 260321 w 274679"/>
                        <a:gd name="connsiteY4" fmla="*/ 523115 h 974301"/>
                        <a:gd name="connsiteX5" fmla="*/ 142620 w 274679"/>
                        <a:gd name="connsiteY5" fmla="*/ 0 h 97430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74679" h="974301">
                          <a:moveTo>
                            <a:pt x="142620" y="0"/>
                          </a:moveTo>
                          <a:lnTo>
                            <a:pt x="85949" y="0"/>
                          </a:lnTo>
                          <a:cubicBezTo>
                            <a:pt x="85949" y="0"/>
                            <a:pt x="-25213" y="549270"/>
                            <a:pt x="5302" y="704025"/>
                          </a:cubicBezTo>
                          <a:cubicBezTo>
                            <a:pt x="35817" y="858780"/>
                            <a:pt x="61973" y="956864"/>
                            <a:pt x="146979" y="974301"/>
                          </a:cubicBezTo>
                          <a:cubicBezTo>
                            <a:pt x="190572" y="969942"/>
                            <a:pt x="316991" y="878397"/>
                            <a:pt x="260321" y="523115"/>
                          </a:cubicBezTo>
                          <a:cubicBezTo>
                            <a:pt x="201470" y="226683"/>
                            <a:pt x="166596" y="56671"/>
                            <a:pt x="142620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0" name="Freihandform: Form 199">
                      <a:extLst>
                        <a:ext uri="{FF2B5EF4-FFF2-40B4-BE49-F238E27FC236}">
                          <a16:creationId xmlns:a16="http://schemas.microsoft.com/office/drawing/2014/main" id="{11FA48EF-906B-4136-9C8F-E3867EAB22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22524" y="1256269"/>
                      <a:ext cx="462825" cy="906861"/>
                    </a:xfrm>
                    <a:custGeom>
                      <a:avLst/>
                      <a:gdLst>
                        <a:gd name="connsiteX0" fmla="*/ 52311 w 462825"/>
                        <a:gd name="connsiteY0" fmla="*/ 0 h 906861"/>
                        <a:gd name="connsiteX1" fmla="*/ 0 w 462825"/>
                        <a:gd name="connsiteY1" fmla="*/ 19617 h 906861"/>
                        <a:gd name="connsiteX2" fmla="*/ 180911 w 462825"/>
                        <a:gd name="connsiteY2" fmla="*/ 706205 h 906861"/>
                        <a:gd name="connsiteX3" fmla="*/ 409773 w 462825"/>
                        <a:gd name="connsiteY3" fmla="*/ 904553 h 906861"/>
                        <a:gd name="connsiteX4" fmla="*/ 348743 w 462825"/>
                        <a:gd name="connsiteY4" fmla="*/ 442468 h 906861"/>
                        <a:gd name="connsiteX5" fmla="*/ 52311 w 462825"/>
                        <a:gd name="connsiteY5" fmla="*/ 0 h 90686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2825" h="906861">
                          <a:moveTo>
                            <a:pt x="52311" y="0"/>
                          </a:moveTo>
                          <a:lnTo>
                            <a:pt x="0" y="19617"/>
                          </a:lnTo>
                          <a:cubicBezTo>
                            <a:pt x="0" y="19617"/>
                            <a:pt x="95904" y="573247"/>
                            <a:pt x="180911" y="706205"/>
                          </a:cubicBezTo>
                          <a:cubicBezTo>
                            <a:pt x="265917" y="839163"/>
                            <a:pt x="326947" y="921990"/>
                            <a:pt x="409773" y="904553"/>
                          </a:cubicBezTo>
                          <a:cubicBezTo>
                            <a:pt x="449007" y="884936"/>
                            <a:pt x="531833" y="751978"/>
                            <a:pt x="348743" y="442468"/>
                          </a:cubicBezTo>
                          <a:cubicBezTo>
                            <a:pt x="189629" y="189629"/>
                            <a:pt x="95904" y="43593"/>
                            <a:pt x="52311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1" name="Freihandform: Form 200">
                      <a:extLst>
                        <a:ext uri="{FF2B5EF4-FFF2-40B4-BE49-F238E27FC236}">
                          <a16:creationId xmlns:a16="http://schemas.microsoft.com/office/drawing/2014/main" id="{6A2725EB-229C-444A-BD1F-1D8076F581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50217" y="1226985"/>
                      <a:ext cx="784672" cy="662868"/>
                    </a:xfrm>
                    <a:custGeom>
                      <a:avLst/>
                      <a:gdLst>
                        <a:gd name="connsiteX0" fmla="*/ 440288 w 784672"/>
                        <a:gd name="connsiteY0" fmla="*/ 453366 h 662868"/>
                        <a:gd name="connsiteX1" fmla="*/ 784672 w 784672"/>
                        <a:gd name="connsiteY1" fmla="*/ 45773 h 662868"/>
                        <a:gd name="connsiteX2" fmla="*/ 749798 w 784672"/>
                        <a:gd name="connsiteY2" fmla="*/ 0 h 662868"/>
                        <a:gd name="connsiteX3" fmla="*/ 139497 w 784672"/>
                        <a:gd name="connsiteY3" fmla="*/ 361821 h 662868"/>
                        <a:gd name="connsiteX4" fmla="*/ 10898 w 784672"/>
                        <a:gd name="connsiteY4" fmla="*/ 636456 h 662868"/>
                        <a:gd name="connsiteX5" fmla="*/ 440288 w 784672"/>
                        <a:gd name="connsiteY5" fmla="*/ 453366 h 662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784672" h="662868">
                          <a:moveTo>
                            <a:pt x="440288" y="453366"/>
                          </a:moveTo>
                          <a:cubicBezTo>
                            <a:pt x="638636" y="228863"/>
                            <a:pt x="754157" y="100264"/>
                            <a:pt x="784672" y="45773"/>
                          </a:cubicBezTo>
                          <a:lnTo>
                            <a:pt x="749798" y="0"/>
                          </a:lnTo>
                          <a:cubicBezTo>
                            <a:pt x="749798" y="0"/>
                            <a:pt x="244120" y="244120"/>
                            <a:pt x="139497" y="361821"/>
                          </a:cubicBezTo>
                          <a:cubicBezTo>
                            <a:pt x="34874" y="479522"/>
                            <a:pt x="-26156" y="560169"/>
                            <a:pt x="10898" y="636456"/>
                          </a:cubicBezTo>
                          <a:cubicBezTo>
                            <a:pt x="41413" y="671331"/>
                            <a:pt x="191809" y="714924"/>
                            <a:pt x="440288" y="45336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  <p:sp>
                  <p:nvSpPr>
                    <p:cNvPr id="52" name="Freihandform: Form 201">
                      <a:extLst>
                        <a:ext uri="{FF2B5EF4-FFF2-40B4-BE49-F238E27FC236}">
                          <a16:creationId xmlns:a16="http://schemas.microsoft.com/office/drawing/2014/main" id="{53405413-BC7B-4D2F-915E-C5CF4E5ED1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51817" y="1240063"/>
                      <a:ext cx="424485" cy="912038"/>
                    </a:xfrm>
                    <a:custGeom>
                      <a:avLst/>
                      <a:gdLst>
                        <a:gd name="connsiteX0" fmla="*/ 317683 w 424485"/>
                        <a:gd name="connsiteY0" fmla="*/ 531833 h 912038"/>
                        <a:gd name="connsiteX1" fmla="*/ 424486 w 424485"/>
                        <a:gd name="connsiteY1" fmla="*/ 17437 h 912038"/>
                        <a:gd name="connsiteX2" fmla="*/ 376534 w 424485"/>
                        <a:gd name="connsiteY2" fmla="*/ 0 h 912038"/>
                        <a:gd name="connsiteX3" fmla="*/ 29970 w 424485"/>
                        <a:gd name="connsiteY3" fmla="*/ 619019 h 912038"/>
                        <a:gd name="connsiteX4" fmla="*/ 45228 w 424485"/>
                        <a:gd name="connsiteY4" fmla="*/ 911092 h 912038"/>
                        <a:gd name="connsiteX5" fmla="*/ 317683 w 424485"/>
                        <a:gd name="connsiteY5" fmla="*/ 531833 h 9120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24485" h="912038">
                          <a:moveTo>
                            <a:pt x="317683" y="531833"/>
                          </a:moveTo>
                          <a:cubicBezTo>
                            <a:pt x="383073" y="241941"/>
                            <a:pt x="422306" y="76288"/>
                            <a:pt x="424486" y="17437"/>
                          </a:cubicBezTo>
                          <a:lnTo>
                            <a:pt x="376534" y="0"/>
                          </a:lnTo>
                          <a:cubicBezTo>
                            <a:pt x="376534" y="0"/>
                            <a:pt x="64844" y="466444"/>
                            <a:pt x="29970" y="619019"/>
                          </a:cubicBezTo>
                          <a:cubicBezTo>
                            <a:pt x="-4904" y="769415"/>
                            <a:pt x="-20162" y="867499"/>
                            <a:pt x="45228" y="911092"/>
                          </a:cubicBezTo>
                          <a:cubicBezTo>
                            <a:pt x="82282" y="919810"/>
                            <a:pt x="226138" y="874038"/>
                            <a:pt x="317683" y="53183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21771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de-DE"/>
                    </a:p>
                  </p:txBody>
                </p:sp>
              </p:grpSp>
            </p:grpSp>
            <p:sp>
              <p:nvSpPr>
                <p:cNvPr id="19" name="Freihandform: Form 172">
                  <a:extLst>
                    <a:ext uri="{FF2B5EF4-FFF2-40B4-BE49-F238E27FC236}">
                      <a16:creationId xmlns:a16="http://schemas.microsoft.com/office/drawing/2014/main" id="{367A1EAC-79AF-4176-94D6-E222773157F9}"/>
                    </a:ext>
                  </a:extLst>
                </p:cNvPr>
                <p:cNvSpPr/>
                <p:nvPr/>
              </p:nvSpPr>
              <p:spPr>
                <a:xfrm>
                  <a:off x="11282314" y="978505"/>
                  <a:ext cx="414132" cy="396695"/>
                </a:xfrm>
                <a:custGeom>
                  <a:avLst/>
                  <a:gdLst>
                    <a:gd name="connsiteX0" fmla="*/ 414133 w 414132"/>
                    <a:gd name="connsiteY0" fmla="*/ 198348 h 396695"/>
                    <a:gd name="connsiteX1" fmla="*/ 207066 w 414132"/>
                    <a:gd name="connsiteY1" fmla="*/ 396695 h 396695"/>
                    <a:gd name="connsiteX2" fmla="*/ 0 w 414132"/>
                    <a:gd name="connsiteY2" fmla="*/ 198348 h 396695"/>
                    <a:gd name="connsiteX3" fmla="*/ 207066 w 414132"/>
                    <a:gd name="connsiteY3" fmla="*/ 0 h 396695"/>
                    <a:gd name="connsiteX4" fmla="*/ 414133 w 414132"/>
                    <a:gd name="connsiteY4" fmla="*/ 198348 h 396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4132" h="396695">
                      <a:moveTo>
                        <a:pt x="414133" y="198348"/>
                      </a:moveTo>
                      <a:cubicBezTo>
                        <a:pt x="414133" y="307330"/>
                        <a:pt x="322587" y="396695"/>
                        <a:pt x="207066" y="396695"/>
                      </a:cubicBezTo>
                      <a:cubicBezTo>
                        <a:pt x="93725" y="396695"/>
                        <a:pt x="0" y="307330"/>
                        <a:pt x="0" y="198348"/>
                      </a:cubicBezTo>
                      <a:cubicBezTo>
                        <a:pt x="0" y="89365"/>
                        <a:pt x="91545" y="0"/>
                        <a:pt x="207066" y="0"/>
                      </a:cubicBezTo>
                      <a:cubicBezTo>
                        <a:pt x="320408" y="0"/>
                        <a:pt x="414133" y="89365"/>
                        <a:pt x="414133" y="198348"/>
                      </a:cubicBezTo>
                      <a:close/>
                    </a:path>
                  </a:pathLst>
                </a:custGeom>
                <a:solidFill>
                  <a:srgbClr val="FFBB00"/>
                </a:solidFill>
                <a:ln w="2177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6" name="Ellipse 170">
                <a:extLst>
                  <a:ext uri="{FF2B5EF4-FFF2-40B4-BE49-F238E27FC236}">
                    <a16:creationId xmlns:a16="http://schemas.microsoft.com/office/drawing/2014/main" id="{21452493-90A6-417D-BCA1-3D4C161E87A5}"/>
                  </a:ext>
                </a:extLst>
              </p:cNvPr>
              <p:cNvSpPr/>
              <p:nvPr/>
            </p:nvSpPr>
            <p:spPr bwMode="gray">
              <a:xfrm>
                <a:off x="11227609" y="960958"/>
                <a:ext cx="403666" cy="382238"/>
              </a:xfrm>
              <a:prstGeom prst="ellipse">
                <a:avLst/>
              </a:prstGeom>
              <a:solidFill>
                <a:srgbClr val="FFD066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0000"/>
                  </a:lnSpc>
                </a:pPr>
                <a:endParaRPr lang="de-DE" sz="1600">
                  <a:solidFill>
                    <a:srgbClr val="FFD066"/>
                  </a:solidFill>
                </a:endParaRPr>
              </a:p>
            </p:txBody>
          </p:sp>
        </p:grpSp>
      </p:grpSp>
      <p:sp>
        <p:nvSpPr>
          <p:cNvPr id="120" name="Title 4">
            <a:extLst>
              <a:ext uri="{FF2B5EF4-FFF2-40B4-BE49-F238E27FC236}">
                <a16:creationId xmlns:a16="http://schemas.microsoft.com/office/drawing/2014/main" id="{3A43AB68-4700-47EC-B148-13663E59A12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716697" y="1970116"/>
            <a:ext cx="9095958" cy="2813183"/>
          </a:xfrm>
          <a:noFill/>
        </p:spPr>
        <p:txBody>
          <a:bodyPr/>
          <a:lstStyle/>
          <a:p>
            <a:pPr algn="ctr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3600" i="1" dirty="0"/>
              <a:t>“ Without network visibility, </a:t>
            </a:r>
            <a:br>
              <a:rPr lang="en-US" sz="3600" i="1" dirty="0"/>
            </a:br>
            <a:r>
              <a:rPr lang="en-US" sz="3600" i="1" dirty="0"/>
              <a:t>no informed decisions can be made. “</a:t>
            </a:r>
            <a:br>
              <a:rPr lang="en-US" sz="3600" i="1" dirty="0"/>
            </a:br>
            <a:endParaRPr lang="de-CH" sz="3600" i="1" dirty="0"/>
          </a:p>
        </p:txBody>
      </p:sp>
    </p:spTree>
    <p:extLst>
      <p:ext uri="{BB962C8B-B14F-4D97-AF65-F5344CB8AC3E}">
        <p14:creationId xmlns:p14="http://schemas.microsoft.com/office/powerpoint/2010/main" val="34530664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4.37504;28.12496;42.5;56.25;70.75;84.37504;98.87504;113.25;127;"/>
  <p:tag name="VCT-BULLETVISIBILITY" val="G*****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1.07.2011 10:19:05"/>
  <p:tag name="VCT-TEMPLATE" val="E_Presentation_Standard.potx"/>
  <p:tag name="VCTMASTER" val="Larissa"/>
  <p:tag name="VCTOR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Roadmap"/>
  <p:tag name="DATE" val="25.07.2011 15:37:3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YfMyCJfkeJ7zPCYZol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4.37504;28.12496;42.5;56.25;70.75;84.37504;98.87504;113.25;127;141.375;155.125;169.5;183.875;197.625;212.125;225.875;240.25;"/>
  <p:tag name="VCT-BULLETVISIBILITY" val="G*********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1.07.2011 10:19:05"/>
  <p:tag name="VCT-TEMPLATE" val="E_Presentation_Standard.potx"/>
  <p:tag name="VCTMASTER" val="Larissa"/>
  <p:tag name="VCTORD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heme/theme1.xml><?xml version="1.0" encoding="utf-8"?>
<a:theme xmlns:a="http://schemas.openxmlformats.org/drawingml/2006/main" name="12_Blank">
  <a:themeElements>
    <a:clrScheme name="swisscom_standard_aus_guide">
      <a:dk1>
        <a:srgbClr val="001155"/>
      </a:dk1>
      <a:lt1>
        <a:sysClr val="window" lastClr="FFFFFF"/>
      </a:lt1>
      <a:dk2>
        <a:srgbClr val="DD1122"/>
      </a:dk2>
      <a:lt2>
        <a:srgbClr val="551166"/>
      </a:lt2>
      <a:accent1>
        <a:srgbClr val="001155"/>
      </a:accent1>
      <a:accent2>
        <a:srgbClr val="11AAFF"/>
      </a:accent2>
      <a:accent3>
        <a:srgbClr val="77CCFF"/>
      </a:accent3>
      <a:accent4>
        <a:srgbClr val="333333"/>
      </a:accent4>
      <a:accent5>
        <a:srgbClr val="666666"/>
      </a:accent5>
      <a:accent6>
        <a:srgbClr val="BBBBBB"/>
      </a:accent6>
      <a:hlink>
        <a:srgbClr val="001155"/>
      </a:hlink>
      <a:folHlink>
        <a:srgbClr val="666666"/>
      </a:folHlink>
    </a:clrScheme>
    <a:fontScheme name="Blank">
      <a:majorFont>
        <a:latin typeface="TheSans Swisscom Light"/>
        <a:ea typeface="ＭＳ Ｐゴシック"/>
        <a:cs typeface=""/>
      </a:majorFont>
      <a:minorFont>
        <a:latin typeface="TheSans Swissco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D327D"/>
        </a:solidFill>
        <a:ln w="25400" cap="flat" cmpd="sng" algn="ctr">
          <a:noFill/>
          <a:prstDash val="solid"/>
        </a:ln>
        <a:effectLst/>
      </a:spPr>
      <a:bodyPr lIns="36000" tIns="36000" rIns="36000" bIns="36000">
        <a:spAutoFit/>
      </a:bodyPr>
      <a:lstStyle>
        <a:defPPr algn="ctr" fontAlgn="auto">
          <a:spcBef>
            <a:spcPts val="0"/>
          </a:spcBef>
          <a:spcAft>
            <a:spcPts val="0"/>
          </a:spcAft>
          <a:defRPr sz="1000" kern="0" dirty="0" smtClean="0">
            <a:solidFill>
              <a:prstClr val="white"/>
            </a:solidFill>
            <a:latin typeface="Arial"/>
            <a:ea typeface="+mn-ea"/>
            <a:cs typeface="+mn-cs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heSans Swisscom" charset="0"/>
            <a:ea typeface="ＭＳ Ｐゴシック" charset="0"/>
          </a:defRPr>
        </a:defPPr>
      </a:lstStyle>
    </a:lnDef>
  </a:objectDefaults>
  <a:extraClrSchemeLst>
    <a:extraClrScheme>
      <a:clrScheme name="Blank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E_Presentation_Standard">
  <a:themeElements>
    <a:clrScheme name="swisscom">
      <a:dk1>
        <a:srgbClr val="001155"/>
      </a:dk1>
      <a:lt1>
        <a:sysClr val="window" lastClr="FFFFFF"/>
      </a:lt1>
      <a:dk2>
        <a:srgbClr val="DD1122"/>
      </a:dk2>
      <a:lt2>
        <a:srgbClr val="551166"/>
      </a:lt2>
      <a:accent1>
        <a:srgbClr val="001155"/>
      </a:accent1>
      <a:accent2>
        <a:srgbClr val="11AAFF"/>
      </a:accent2>
      <a:accent3>
        <a:srgbClr val="77CCFF"/>
      </a:accent3>
      <a:accent4>
        <a:srgbClr val="333333"/>
      </a:accent4>
      <a:accent5>
        <a:srgbClr val="666666"/>
      </a:accent5>
      <a:accent6>
        <a:srgbClr val="BBBBBB"/>
      </a:accent6>
      <a:hlink>
        <a:srgbClr val="001155"/>
      </a:hlink>
      <a:folHlink>
        <a:srgbClr val="666666"/>
      </a:folHlink>
    </a:clrScheme>
    <a:fontScheme name="swisscom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20_Blank">
  <a:themeElements>
    <a:clrScheme name="swisscom_standard_aus_guide">
      <a:dk1>
        <a:srgbClr val="001155"/>
      </a:dk1>
      <a:lt1>
        <a:sysClr val="window" lastClr="FFFFFF"/>
      </a:lt1>
      <a:dk2>
        <a:srgbClr val="DD1122"/>
      </a:dk2>
      <a:lt2>
        <a:srgbClr val="551166"/>
      </a:lt2>
      <a:accent1>
        <a:srgbClr val="001155"/>
      </a:accent1>
      <a:accent2>
        <a:srgbClr val="11AAFF"/>
      </a:accent2>
      <a:accent3>
        <a:srgbClr val="77CCFF"/>
      </a:accent3>
      <a:accent4>
        <a:srgbClr val="333333"/>
      </a:accent4>
      <a:accent5>
        <a:srgbClr val="666666"/>
      </a:accent5>
      <a:accent6>
        <a:srgbClr val="BBBBBB"/>
      </a:accent6>
      <a:hlink>
        <a:srgbClr val="001155"/>
      </a:hlink>
      <a:folHlink>
        <a:srgbClr val="666666"/>
      </a:folHlink>
    </a:clrScheme>
    <a:fontScheme name="Blank">
      <a:majorFont>
        <a:latin typeface="TheSans Swisscom Light"/>
        <a:ea typeface="ＭＳ Ｐゴシック"/>
        <a:cs typeface=""/>
      </a:majorFont>
      <a:minorFont>
        <a:latin typeface="TheSans Swissco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heSans Swisscom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heSans Swisscom" charset="0"/>
            <a:ea typeface="ＭＳ Ｐゴシック" charset="0"/>
          </a:defRPr>
        </a:defPPr>
      </a:lstStyle>
    </a:lnDef>
  </a:objectDefaults>
  <a:extraClrSchemeLst>
    <a:extraClrScheme>
      <a:clrScheme name="Blank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Default Design">
  <a:themeElements>
    <a:clrScheme name="Default Design 1">
      <a:dk1>
        <a:srgbClr val="001155"/>
      </a:dk1>
      <a:lt1>
        <a:srgbClr val="FFFFFF"/>
      </a:lt1>
      <a:dk2>
        <a:srgbClr val="001155"/>
      </a:dk2>
      <a:lt2>
        <a:srgbClr val="555555"/>
      </a:lt2>
      <a:accent1>
        <a:srgbClr val="FFFFFF"/>
      </a:accent1>
      <a:accent2>
        <a:srgbClr val="11AAFF"/>
      </a:accent2>
      <a:accent3>
        <a:srgbClr val="FFFFFF"/>
      </a:accent3>
      <a:accent4>
        <a:srgbClr val="000D47"/>
      </a:accent4>
      <a:accent5>
        <a:srgbClr val="FFFFFF"/>
      </a:accent5>
      <a:accent6>
        <a:srgbClr val="0E9AE7"/>
      </a:accent6>
      <a:hlink>
        <a:srgbClr val="551166"/>
      </a:hlink>
      <a:folHlink>
        <a:srgbClr val="DD1122"/>
      </a:folHlink>
    </a:clrScheme>
    <a:fontScheme name="Default Design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lnDef>
  </a:objectDefaults>
  <a:extraClrSchemeLst>
    <a:extraClrScheme>
      <a:clrScheme name="Default Design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Larissa">
  <a:themeElements>
    <a:clrScheme name="swisscom">
      <a:dk1>
        <a:srgbClr val="001155"/>
      </a:dk1>
      <a:lt1>
        <a:sysClr val="window" lastClr="FFFFFF"/>
      </a:lt1>
      <a:dk2>
        <a:srgbClr val="DD1122"/>
      </a:dk2>
      <a:lt2>
        <a:srgbClr val="551166"/>
      </a:lt2>
      <a:accent1>
        <a:srgbClr val="001155"/>
      </a:accent1>
      <a:accent2>
        <a:srgbClr val="11AAFF"/>
      </a:accent2>
      <a:accent3>
        <a:srgbClr val="77CCFF"/>
      </a:accent3>
      <a:accent4>
        <a:srgbClr val="333333"/>
      </a:accent4>
      <a:accent5>
        <a:srgbClr val="666666"/>
      </a:accent5>
      <a:accent6>
        <a:srgbClr val="BBBBBB"/>
      </a:accent6>
      <a:hlink>
        <a:srgbClr val="001155"/>
      </a:hlink>
      <a:folHlink>
        <a:srgbClr val="666666"/>
      </a:folHlink>
    </a:clrScheme>
    <a:fontScheme name="swisscom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Blank">
  <a:themeElements>
    <a:clrScheme name="Blank 1">
      <a:dk1>
        <a:srgbClr val="001155"/>
      </a:dk1>
      <a:lt1>
        <a:srgbClr val="FFFFFF"/>
      </a:lt1>
      <a:dk2>
        <a:srgbClr val="001155"/>
      </a:dk2>
      <a:lt2>
        <a:srgbClr val="555555"/>
      </a:lt2>
      <a:accent1>
        <a:srgbClr val="FFFFFF"/>
      </a:accent1>
      <a:accent2>
        <a:srgbClr val="11AAFF"/>
      </a:accent2>
      <a:accent3>
        <a:srgbClr val="FFFFFF"/>
      </a:accent3>
      <a:accent4>
        <a:srgbClr val="000D47"/>
      </a:accent4>
      <a:accent5>
        <a:srgbClr val="FFFFFF"/>
      </a:accent5>
      <a:accent6>
        <a:srgbClr val="0E9AE7"/>
      </a:accent6>
      <a:hlink>
        <a:srgbClr val="551166"/>
      </a:hlink>
      <a:folHlink>
        <a:srgbClr val="DD1122"/>
      </a:folHlink>
    </a:clrScheme>
    <a:fontScheme name="Blank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B7B7">
            <a:alpha val="53999"/>
          </a:srgbClr>
        </a:solidFill>
        <a:ln w="19050" cap="flat" cmpd="sng" algn="ctr">
          <a:solidFill>
            <a:srgbClr val="969696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B7B7">
            <a:alpha val="53999"/>
          </a:srgbClr>
        </a:solidFill>
        <a:ln w="19050" cap="flat" cmpd="sng" algn="ctr">
          <a:solidFill>
            <a:srgbClr val="969696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lnDef>
  </a:objectDefaults>
  <a:extraClrSchemeLst>
    <a:extraClrScheme>
      <a:clrScheme name="Blank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_Blank">
  <a:themeElements>
    <a:clrScheme name="Blank 1">
      <a:dk1>
        <a:srgbClr val="001155"/>
      </a:dk1>
      <a:lt1>
        <a:srgbClr val="FFFFFF"/>
      </a:lt1>
      <a:dk2>
        <a:srgbClr val="001155"/>
      </a:dk2>
      <a:lt2>
        <a:srgbClr val="555555"/>
      </a:lt2>
      <a:accent1>
        <a:srgbClr val="FFFFFF"/>
      </a:accent1>
      <a:accent2>
        <a:srgbClr val="11AAFF"/>
      </a:accent2>
      <a:accent3>
        <a:srgbClr val="FFFFFF"/>
      </a:accent3>
      <a:accent4>
        <a:srgbClr val="000D47"/>
      </a:accent4>
      <a:accent5>
        <a:srgbClr val="FFFFFF"/>
      </a:accent5>
      <a:accent6>
        <a:srgbClr val="0E9AE7"/>
      </a:accent6>
      <a:hlink>
        <a:srgbClr val="551166"/>
      </a:hlink>
      <a:folHlink>
        <a:srgbClr val="DD1122"/>
      </a:folHlink>
    </a:clrScheme>
    <a:fontScheme name="Blank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lnDef>
  </a:objectDefaults>
  <a:extraClrSchemeLst>
    <a:extraClrScheme>
      <a:clrScheme name="Blank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Swisscom Master 16:9">
  <a:themeElements>
    <a:clrScheme name="Swisscom Office">
      <a:dk1>
        <a:srgbClr val="333333"/>
      </a:dk1>
      <a:lt1>
        <a:sysClr val="window" lastClr="FFFFFF"/>
      </a:lt1>
      <a:dk2>
        <a:srgbClr val="DD1122"/>
      </a:dk2>
      <a:lt2>
        <a:srgbClr val="001155"/>
      </a:lt2>
      <a:accent1>
        <a:srgbClr val="001155"/>
      </a:accent1>
      <a:accent2>
        <a:srgbClr val="11AAFF"/>
      </a:accent2>
      <a:accent3>
        <a:srgbClr val="0851DA"/>
      </a:accent3>
      <a:accent4>
        <a:srgbClr val="5C5C5C"/>
      </a:accent4>
      <a:accent5>
        <a:srgbClr val="858585"/>
      </a:accent5>
      <a:accent6>
        <a:srgbClr val="C1C1C1"/>
      </a:accent6>
      <a:hlink>
        <a:srgbClr val="11AAFF"/>
      </a:hlink>
      <a:folHlink>
        <a:srgbClr val="333333"/>
      </a:folHlink>
    </a:clrScheme>
    <a:fontScheme name="Benutzerdefiniert 6">
      <a:majorFont>
        <a:latin typeface="TheSans Swisscom Light"/>
        <a:ea typeface=""/>
        <a:cs typeface=""/>
      </a:majorFont>
      <a:minorFont>
        <a:latin typeface="TheSans Swissco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6350">
          <a:solidFill>
            <a:schemeClr val="tx1"/>
          </a:solidFill>
        </a:ln>
      </a:spPr>
      <a:bodyPr rtlCol="0" anchor="ctr"/>
      <a:lstStyle>
        <a:defPPr algn="ctr">
          <a:lnSpc>
            <a:spcPct val="110000"/>
          </a:lnSpc>
          <a:defRPr sz="16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wrap="none" lIns="0" tIns="0" rIns="0" bIns="0" rtlCol="0">
        <a:noAutofit/>
      </a:bodyPr>
      <a:lstStyle>
        <a:defPPr marL="180000" indent="-180000" algn="l">
          <a:lnSpc>
            <a:spcPct val="110000"/>
          </a:lnSpc>
          <a:buFont typeface="Arial" panose="020B0604020202020204" pitchFamily="34" charset="0"/>
          <a:buChar char="•"/>
          <a:defRPr sz="1600" dirty="0"/>
        </a:defPPr>
      </a:lstStyle>
    </a:txDef>
  </a:objectDefaults>
  <a:extraClrSchemeLst/>
  <a:custClrLst>
    <a:custClr name="Pink">
      <a:srgbClr val="E61E64"/>
    </a:custClr>
    <a:custClr name="Orchid">
      <a:srgbClr val="A63297"/>
    </a:custClr>
    <a:custClr name="Iris">
      <a:srgbClr val="5944C6"/>
    </a:custClr>
    <a:custClr name="Dark Blue">
      <a:srgbClr val="1781E3"/>
    </a:custClr>
    <a:custClr name="Turquoise">
      <a:srgbClr val="0EABA9"/>
    </a:custClr>
    <a:custClr name="Aluminium">
      <a:srgbClr val="DDE3E7"/>
    </a:custClr>
    <a:custClr name="Horizon">
      <a:srgbClr val="EEF3F6"/>
    </a:custClr>
  </a:custClrLst>
  <a:extLst>
    <a:ext uri="{05A4C25C-085E-4340-85A3-A5531E510DB2}">
      <thm15:themeFamily xmlns:thm15="http://schemas.microsoft.com/office/thememl/2012/main" name="11_Presentation.potx" id="{7B97D6A9-4619-4506-9837-6CE85D33AF65}" vid="{F7B604C9-6113-49C9-A558-BEC3AFB8596F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8792A905D4FBE4781303B372FFF56B7" ma:contentTypeVersion="8" ma:contentTypeDescription="Ein neues Dokument erstellen." ma:contentTypeScope="" ma:versionID="1778ac4254428fd8dcfb4dc1c346fd92">
  <xsd:schema xmlns:xsd="http://www.w3.org/2001/XMLSchema" xmlns:xs="http://www.w3.org/2001/XMLSchema" xmlns:p="http://schemas.microsoft.com/office/2006/metadata/properties" xmlns:ns3="3e5e162a-5953-4fde-83b3-9639e6ab13bb" targetNamespace="http://schemas.microsoft.com/office/2006/metadata/properties" ma:root="true" ma:fieldsID="3cfd1d800c203e42ff8f3b3519a8cd64" ns3:_="">
    <xsd:import namespace="3e5e162a-5953-4fde-83b3-9639e6ab13b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5e162a-5953-4fde-83b3-9639e6ab13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AEBF10C-360A-4DB6-A409-C5618882BBD0}">
  <ds:schemaRefs>
    <ds:schemaRef ds:uri="3e5e162a-5953-4fde-83b3-9639e6ab13b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F3BE7FE-F078-45E5-A4DB-1BE54006E46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14E5AFF-82D4-41E9-A844-AC77284E0AD4}">
  <ds:schemaRefs>
    <ds:schemaRef ds:uri="http://schemas.microsoft.com/office/2006/metadata/properties"/>
    <ds:schemaRef ds:uri="3e5e162a-5953-4fde-83b3-9639e6ab13bb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2e1fccfb-80ca-4fe1-a574-1516544edb53}" enabled="1" method="Standard" siteId="{364e5b87-c1c7-420d-9bee-c35d19b557a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20</Words>
  <Application>Microsoft Office PowerPoint</Application>
  <PresentationFormat>Widescreen</PresentationFormat>
  <Paragraphs>90</Paragraphs>
  <Slides>14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8</vt:i4>
      </vt:variant>
      <vt:variant>
        <vt:lpstr>Slide Titles</vt:lpstr>
      </vt:variant>
      <vt:variant>
        <vt:i4>14</vt:i4>
      </vt:variant>
    </vt:vector>
  </HeadingPairs>
  <TitlesOfParts>
    <vt:vector size="26" baseType="lpstr">
      <vt:lpstr>Arial</vt:lpstr>
      <vt:lpstr>Calibri</vt:lpstr>
      <vt:lpstr>TheSans Swisscom</vt:lpstr>
      <vt:lpstr>TheSans Swisscom Light</vt:lpstr>
      <vt:lpstr>12_Blank</vt:lpstr>
      <vt:lpstr>E_Presentation_Standard</vt:lpstr>
      <vt:lpstr>20_Blank</vt:lpstr>
      <vt:lpstr>Default Design</vt:lpstr>
      <vt:lpstr>Larissa</vt:lpstr>
      <vt:lpstr>Blank</vt:lpstr>
      <vt:lpstr>1_Blank</vt:lpstr>
      <vt:lpstr>Swisscom Master 16:9</vt:lpstr>
      <vt:lpstr>Swisscom Network Analytics Why Network Modelling with Digital Map is the next step</vt:lpstr>
      <vt:lpstr>PowerPoint Presentation</vt:lpstr>
      <vt:lpstr>PowerPoint Presentation</vt:lpstr>
      <vt:lpstr>“ It is our duty to recognize service interruption  before our customer does. Why do we still often fail to be first ? “</vt:lpstr>
      <vt:lpstr>PowerPoint Presentation</vt:lpstr>
      <vt:lpstr>PowerPoint Presentation</vt:lpstr>
      <vt:lpstr>PowerPoint Presentation</vt:lpstr>
      <vt:lpstr>PowerPoint Presentation</vt:lpstr>
      <vt:lpstr>“ Without network visibility,  no informed decisions can be made. “ </vt:lpstr>
      <vt:lpstr>Monitor L3 VPN Relationships in Near Real-Time What Interfaces are for Flows, Peerings are for BGP</vt:lpstr>
      <vt:lpstr>From Network to Alert Event Observe multiple perspectives at different times</vt:lpstr>
      <vt:lpstr>PowerPoint Presentation</vt:lpstr>
      <vt:lpstr>January 29th 2023, B2B Customer LAN-I Secure CER Traffic Blackholing Logical Connection 785 - L3 VPN monitored By Network Anomaly Detec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hael.Mankel@swisscom.com</dc:creator>
  <cp:lastModifiedBy>Graf Thomas, INI-NET-VNC-HCS</cp:lastModifiedBy>
  <cp:revision>201</cp:revision>
  <dcterms:created xsi:type="dcterms:W3CDTF">2016-05-10T09:20:19Z</dcterms:created>
  <dcterms:modified xsi:type="dcterms:W3CDTF">2023-07-24T17:50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8792A905D4FBE4781303B372FFF56B7</vt:lpwstr>
  </property>
  <property fmtid="{D5CDD505-2E9C-101B-9397-08002B2CF9AE}" pid="3" name="_dlc_DocIdItemGuid">
    <vt:lpwstr>965fe21c-2b00-4877-9ea6-4f512aab3804</vt:lpwstr>
  </property>
  <property fmtid="{D5CDD505-2E9C-101B-9397-08002B2CF9AE}" pid="4" name="_NewReviewCycle">
    <vt:lpwstr/>
  </property>
  <property fmtid="{D5CDD505-2E9C-101B-9397-08002B2CF9AE}" pid="5" name="MSIP_Label_2e1fccfb-80ca-4fe1-a574-1516544edb53_Enabled">
    <vt:lpwstr>true</vt:lpwstr>
  </property>
  <property fmtid="{D5CDD505-2E9C-101B-9397-08002B2CF9AE}" pid="6" name="MSIP_Label_2e1fccfb-80ca-4fe1-a574-1516544edb53_SetDate">
    <vt:lpwstr>2023-06-15T06:51:19Z</vt:lpwstr>
  </property>
  <property fmtid="{D5CDD505-2E9C-101B-9397-08002B2CF9AE}" pid="7" name="MSIP_Label_2e1fccfb-80ca-4fe1-a574-1516544edb53_Method">
    <vt:lpwstr>Standard</vt:lpwstr>
  </property>
  <property fmtid="{D5CDD505-2E9C-101B-9397-08002B2CF9AE}" pid="8" name="MSIP_Label_2e1fccfb-80ca-4fe1-a574-1516544edb53_Name">
    <vt:lpwstr>C2 Internal</vt:lpwstr>
  </property>
  <property fmtid="{D5CDD505-2E9C-101B-9397-08002B2CF9AE}" pid="9" name="MSIP_Label_2e1fccfb-80ca-4fe1-a574-1516544edb53_SiteId">
    <vt:lpwstr>364e5b87-c1c7-420d-9bee-c35d19b557a1</vt:lpwstr>
  </property>
  <property fmtid="{D5CDD505-2E9C-101B-9397-08002B2CF9AE}" pid="10" name="MSIP_Label_2e1fccfb-80ca-4fe1-a574-1516544edb53_ContentBits">
    <vt:lpwstr>0</vt:lpwstr>
  </property>
  <property fmtid="{D5CDD505-2E9C-101B-9397-08002B2CF9AE}" pid="11" name="Sensitivity">
    <vt:lpwstr>C2 General</vt:lpwstr>
  </property>
</Properties>
</file>